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wdp" ContentType="image/vnd.ms-photo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8"/>
  </p:notesMasterIdLst>
  <p:sldIdLst>
    <p:sldId id="276" r:id="rId2"/>
    <p:sldId id="275" r:id="rId3"/>
    <p:sldId id="258" r:id="rId4"/>
    <p:sldId id="274" r:id="rId5"/>
    <p:sldId id="269" r:id="rId6"/>
    <p:sldId id="281" r:id="rId7"/>
    <p:sldId id="278" r:id="rId8"/>
    <p:sldId id="280" r:id="rId9"/>
    <p:sldId id="282" r:id="rId10"/>
    <p:sldId id="261" r:id="rId11"/>
    <p:sldId id="283" r:id="rId12"/>
    <p:sldId id="284" r:id="rId13"/>
    <p:sldId id="287" r:id="rId14"/>
    <p:sldId id="289" r:id="rId15"/>
    <p:sldId id="290" r:id="rId16"/>
    <p:sldId id="291" r:id="rId17"/>
    <p:sldId id="262" r:id="rId18"/>
    <p:sldId id="292" r:id="rId19"/>
    <p:sldId id="296" r:id="rId20"/>
    <p:sldId id="300" r:id="rId21"/>
    <p:sldId id="301" r:id="rId22"/>
    <p:sldId id="263" r:id="rId23"/>
    <p:sldId id="297" r:id="rId24"/>
    <p:sldId id="272" r:id="rId25"/>
    <p:sldId id="264" r:id="rId26"/>
    <p:sldId id="298" r:id="rId27"/>
    <p:sldId id="273" r:id="rId28"/>
    <p:sldId id="268" r:id="rId29"/>
    <p:sldId id="265" r:id="rId30"/>
    <p:sldId id="299" r:id="rId31"/>
    <p:sldId id="302" r:id="rId32"/>
    <p:sldId id="305" r:id="rId33"/>
    <p:sldId id="306" r:id="rId34"/>
    <p:sldId id="307" r:id="rId35"/>
    <p:sldId id="285" r:id="rId36"/>
    <p:sldId id="266" r:id="rId3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B89F0"/>
    <a:srgbClr val="ED5326"/>
    <a:srgbClr val="D94C00"/>
    <a:srgbClr val="5960FD"/>
    <a:srgbClr val="FF621E"/>
    <a:srgbClr val="CB4423"/>
    <a:srgbClr val="ED532B"/>
    <a:srgbClr val="00B6AD"/>
    <a:srgbClr val="FF5100"/>
    <a:srgbClr val="FF4F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06799F8-075E-4A3A-A7F6-7FBC6576F1A4}" styleName="主题样式 2 - 个性色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浅色样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浅色样式 3 - 强调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C7853C-536D-4A76-A0AE-DD22124D55A5}" styleName="主题样式 1 - 个性色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000"/>
    <p:restoredTop sz="74568"/>
  </p:normalViewPr>
  <p:slideViewPr>
    <p:cSldViewPr snapToGrid="0" snapToObjects="1">
      <p:cViewPr varScale="1">
        <p:scale>
          <a:sx n="104" d="100"/>
          <a:sy n="104" d="100"/>
        </p:scale>
        <p:origin x="1000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notesMaster" Target="notesMasters/notesMaster1.xml"/><Relationship Id="rId39" Type="http://schemas.openxmlformats.org/officeDocument/2006/relationships/presProps" Target="presProps.xml"/><Relationship Id="rId40" Type="http://schemas.openxmlformats.org/officeDocument/2006/relationships/viewProps" Target="viewProps.xml"/><Relationship Id="rId41" Type="http://schemas.openxmlformats.org/officeDocument/2006/relationships/theme" Target="theme/theme1.xml"/><Relationship Id="rId4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8613DB-8F97-1741-9118-0D4449739394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1102C-5B02-9E42-B7BA-D19F32FE70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64737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942202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617464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931145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180842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926657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004138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724514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736227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787773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091185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1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72190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071344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326217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27951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491529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262605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181867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67953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237076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6041364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961535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2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65728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7961179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3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3733606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3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0790657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3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5432117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3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3971907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3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4731970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3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384552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3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35238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125343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836739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917054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684877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430663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1102C-5B02-9E42-B7BA-D19F32FE7002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15857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 smtClean="0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47267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6107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9473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41027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32056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45790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51300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59372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251258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37100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59D8F7-997B-304D-A0DA-493074199D5A}" type="datetimeFigureOut">
              <a:rPr kumimoji="1" lang="zh-CN" altLang="en-US" smtClean="0"/>
              <a:t>16/7/18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23031D-1AC5-4340-A4E2-08BB5F1665AD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494613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.xml"/><Relationship Id="rId12" Type="http://schemas.openxmlformats.org/officeDocument/2006/relationships/notesSlide" Target="../notesSlides/notesSlide12.xml"/><Relationship Id="rId13" Type="http://schemas.openxmlformats.org/officeDocument/2006/relationships/image" Target="../media/image1.png"/><Relationship Id="rId14" Type="http://schemas.openxmlformats.org/officeDocument/2006/relationships/image" Target="../media/image2.png"/><Relationship Id="rId15" Type="http://schemas.openxmlformats.org/officeDocument/2006/relationships/image" Target="../media/image3.png"/><Relationship Id="rId16" Type="http://schemas.openxmlformats.org/officeDocument/2006/relationships/image" Target="../media/image4.png"/><Relationship Id="rId17" Type="http://schemas.openxmlformats.org/officeDocument/2006/relationships/image" Target="../media/image5.emf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10" Type="http://schemas.openxmlformats.org/officeDocument/2006/relationships/tags" Target="../tags/tag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slideLayout" Target="../slideLayouts/slideLayout1.xml"/><Relationship Id="rId6" Type="http://schemas.openxmlformats.org/officeDocument/2006/relationships/notesSlide" Target="../notesSlides/notesSlide13.xml"/><Relationship Id="rId7" Type="http://schemas.openxmlformats.org/officeDocument/2006/relationships/image" Target="../media/image1.png"/><Relationship Id="rId8" Type="http://schemas.openxmlformats.org/officeDocument/2006/relationships/image" Target="../media/image6.png"/><Relationship Id="rId9" Type="http://schemas.microsoft.com/office/2007/relationships/hdphoto" Target="../media/hdphoto1.wdp"/><Relationship Id="rId1" Type="http://schemas.openxmlformats.org/officeDocument/2006/relationships/tags" Target="../tags/tag11.xml"/><Relationship Id="rId2" Type="http://schemas.openxmlformats.org/officeDocument/2006/relationships/tags" Target="../tags/tag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tags" Target="../tags/tag19.xml"/><Relationship Id="rId6" Type="http://schemas.openxmlformats.org/officeDocument/2006/relationships/tags" Target="../tags/tag20.xml"/><Relationship Id="rId7" Type="http://schemas.openxmlformats.org/officeDocument/2006/relationships/slideLayout" Target="../slideLayouts/slideLayout1.xml"/><Relationship Id="rId8" Type="http://schemas.openxmlformats.org/officeDocument/2006/relationships/notesSlide" Target="../notesSlides/notesSlide14.xml"/><Relationship Id="rId9" Type="http://schemas.openxmlformats.org/officeDocument/2006/relationships/image" Target="../media/image1.png"/><Relationship Id="rId10" Type="http://schemas.openxmlformats.org/officeDocument/2006/relationships/image" Target="../media/image7.png"/><Relationship Id="rId1" Type="http://schemas.openxmlformats.org/officeDocument/2006/relationships/tags" Target="../tags/tag15.xml"/><Relationship Id="rId2" Type="http://schemas.openxmlformats.org/officeDocument/2006/relationships/tags" Target="../tags/tag16.xml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png"/><Relationship Id="rId12" Type="http://schemas.openxmlformats.org/officeDocument/2006/relationships/image" Target="../media/image7.png"/><Relationship Id="rId13" Type="http://schemas.openxmlformats.org/officeDocument/2006/relationships/image" Target="../media/image8.png"/><Relationship Id="rId1" Type="http://schemas.openxmlformats.org/officeDocument/2006/relationships/tags" Target="../tags/tag21.xml"/><Relationship Id="rId2" Type="http://schemas.openxmlformats.org/officeDocument/2006/relationships/tags" Target="../tags/tag22.xml"/><Relationship Id="rId3" Type="http://schemas.openxmlformats.org/officeDocument/2006/relationships/tags" Target="../tags/tag23.xml"/><Relationship Id="rId4" Type="http://schemas.openxmlformats.org/officeDocument/2006/relationships/tags" Target="../tags/tag24.xml"/><Relationship Id="rId5" Type="http://schemas.openxmlformats.org/officeDocument/2006/relationships/tags" Target="../tags/tag25.xml"/><Relationship Id="rId6" Type="http://schemas.openxmlformats.org/officeDocument/2006/relationships/tags" Target="../tags/tag26.xml"/><Relationship Id="rId7" Type="http://schemas.openxmlformats.org/officeDocument/2006/relationships/tags" Target="../tags/tag27.xml"/><Relationship Id="rId8" Type="http://schemas.openxmlformats.org/officeDocument/2006/relationships/tags" Target="../tags/tag28.xml"/><Relationship Id="rId9" Type="http://schemas.openxmlformats.org/officeDocument/2006/relationships/slideLayout" Target="../slideLayouts/slideLayout1.xml"/><Relationship Id="rId10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.xml"/><Relationship Id="rId12" Type="http://schemas.openxmlformats.org/officeDocument/2006/relationships/notesSlide" Target="../notesSlides/notesSlide16.xml"/><Relationship Id="rId13" Type="http://schemas.openxmlformats.org/officeDocument/2006/relationships/image" Target="../media/image1.png"/><Relationship Id="rId14" Type="http://schemas.openxmlformats.org/officeDocument/2006/relationships/image" Target="../media/image9.png"/><Relationship Id="rId15" Type="http://schemas.openxmlformats.org/officeDocument/2006/relationships/image" Target="../media/image10.png"/><Relationship Id="rId16" Type="http://schemas.microsoft.com/office/2007/relationships/hdphoto" Target="../media/hdphoto2.wdp"/><Relationship Id="rId1" Type="http://schemas.openxmlformats.org/officeDocument/2006/relationships/tags" Target="../tags/tag29.x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tags" Target="../tags/tag32.xml"/><Relationship Id="rId5" Type="http://schemas.openxmlformats.org/officeDocument/2006/relationships/tags" Target="../tags/tag33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9" Type="http://schemas.openxmlformats.org/officeDocument/2006/relationships/tags" Target="../tags/tag37.xml"/><Relationship Id="rId10" Type="http://schemas.openxmlformats.org/officeDocument/2006/relationships/tags" Target="../tags/tag3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1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5.xml"/><Relationship Id="rId3" Type="http://schemas.openxmlformats.org/officeDocument/2006/relationships/image" Target="../media/image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1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12.png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7" Type="http://schemas.openxmlformats.org/officeDocument/2006/relationships/image" Target="../media/image15.png"/><Relationship Id="rId8" Type="http://schemas.openxmlformats.org/officeDocument/2006/relationships/image" Target="../media/image16.png"/><Relationship Id="rId9" Type="http://schemas.openxmlformats.org/officeDocument/2006/relationships/image" Target="../media/image17.png"/><Relationship Id="rId10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19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19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1.xml"/><Relationship Id="rId3" Type="http://schemas.openxmlformats.org/officeDocument/2006/relationships/image" Target="../media/image1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2.xml"/><Relationship Id="rId3" Type="http://schemas.openxmlformats.org/officeDocument/2006/relationships/image" Target="../media/image1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3.xml"/><Relationship Id="rId3" Type="http://schemas.openxmlformats.org/officeDocument/2006/relationships/image" Target="../media/image1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4.xml"/><Relationship Id="rId3" Type="http://schemas.openxmlformats.org/officeDocument/2006/relationships/image" Target="../media/image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0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6.xml"/><Relationship Id="rId3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797329" y="2844224"/>
            <a:ext cx="644568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70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70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7000" dirty="0" smtClean="0">
                <a:solidFill>
                  <a:schemeClr val="bg1"/>
                </a:solidFill>
              </a:rPr>
              <a:t>Stellar</a:t>
            </a:r>
            <a:endParaRPr kumimoji="1" lang="zh-CN" altLang="en-US" sz="7000" dirty="0">
              <a:solidFill>
                <a:schemeClr val="bg1"/>
              </a:solidFill>
            </a:endParaRPr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961799" y="4234820"/>
            <a:ext cx="5454333" cy="18558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>
                <a:srgbClr val="92D050"/>
              </a:buClr>
              <a:buSzPct val="120000"/>
              <a:buFont typeface="Arial" pitchFamily="34" charset="0"/>
              <a:buNone/>
              <a:defRPr sz="2400" kern="1200">
                <a:solidFill>
                  <a:schemeClr val="bg1">
                    <a:alpha val="98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>
                <a:srgbClr val="92D050"/>
              </a:buClr>
              <a:buSzPct val="120000"/>
              <a:buFont typeface="Arial" pitchFamily="34" charset="0"/>
              <a:buNone/>
              <a:defRPr sz="4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55663" indent="0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>
                <a:srgbClr val="92D050"/>
              </a:buClr>
              <a:buSzPct val="120000"/>
              <a:buFont typeface="Arial" pitchFamily="34" charset="0"/>
              <a:buNone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258888" indent="0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>
                <a:srgbClr val="92D050"/>
              </a:buClr>
              <a:buSzPct val="120000"/>
              <a:buFont typeface="Arial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604963" indent="0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>
                <a:srgbClr val="92D050"/>
              </a:buClr>
              <a:buSzPct val="120000"/>
              <a:buFont typeface="Arial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120000"/>
              <a:buFont typeface="Arial" pitchFamily="34" charset="0"/>
              <a:buNone/>
              <a:tabLst/>
              <a:defRPr/>
            </a:pPr>
            <a:r>
              <a:rPr kumimoji="0" lang="zh-CN" altLang="en-US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alpha val="98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李煜煌</a:t>
            </a:r>
            <a:endParaRPr kumimoji="0" lang="en-US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alpha val="98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120000"/>
              <a:buFont typeface="Arial" pitchFamily="34" charset="0"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40000"/>
                    <a:lumOff val="60000"/>
                    <a:alpha val="98000"/>
                  </a:srgbClr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Leader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40000"/>
                  <a:lumOff val="60000"/>
                  <a:alpha val="98000"/>
                </a:srgbClr>
              </a:solidFill>
              <a:effectLst/>
              <a:uLnTx/>
              <a:uFillTx/>
              <a:latin typeface="Segoe UI"/>
              <a:ea typeface=""/>
              <a:cs typeface=""/>
            </a:endParaRPr>
          </a:p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US" altLang="zh-CN" sz="1800" dirty="0" smtClean="0">
                <a:solidFill>
                  <a:srgbClr val="FFFFFF">
                    <a:lumMod val="40000"/>
                    <a:lumOff val="60000"/>
                    <a:alpha val="98000"/>
                  </a:srgbClr>
                </a:solidFill>
                <a:latin typeface="Segoe UI"/>
                <a:ea typeface=""/>
                <a:cs typeface=""/>
              </a:rPr>
              <a:t>SCITLAS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40000"/>
                  <a:lumOff val="60000"/>
                  <a:alpha val="98000"/>
                </a:srgbClr>
              </a:solidFill>
              <a:effectLst/>
              <a:uLnTx/>
              <a:uFillTx/>
              <a:latin typeface="Segoe UI"/>
              <a:ea typeface=""/>
              <a:cs typeface=""/>
            </a:endParaRPr>
          </a:p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120000"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40000"/>
                    <a:lumOff val="60000"/>
                    <a:alpha val="98000"/>
                  </a:srgbClr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Email: </a:t>
            </a:r>
            <a:r>
              <a:rPr kumimoji="0" lang="en-US" altLang="zh-CN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>
                    <a:lumMod val="40000"/>
                    <a:lumOff val="60000"/>
                    <a:alpha val="98000"/>
                  </a:srgbClr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liyuhuang</a:t>
            </a:r>
            <a:r>
              <a:rPr kumimoji="0" lang="en-U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>
                    <a:lumMod val="40000"/>
                    <a:lumOff val="60000"/>
                    <a:alpha val="98000"/>
                  </a:srgbClr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@</a:t>
            </a:r>
            <a:r>
              <a:rPr kumimoji="0" lang="en-US" altLang="zh-CN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>
                    <a:lumMod val="40000"/>
                    <a:lumOff val="60000"/>
                    <a:alpha val="98000"/>
                  </a:srgbClr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scitlas</a:t>
            </a:r>
            <a:r>
              <a:rPr kumimoji="0" lang="en-U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>
                    <a:lumMod val="40000"/>
                    <a:lumOff val="60000"/>
                    <a:alpha val="98000"/>
                  </a:srgbClr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.com</a:t>
            </a:r>
            <a:r>
              <a:rPr kumimoji="0" lang="zh-CN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40000"/>
                    <a:lumOff val="60000"/>
                    <a:alpha val="98000"/>
                  </a:srgbClr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 </a:t>
            </a:r>
          </a:p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120000"/>
              <a:buFont typeface="Arial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40000"/>
                  <a:lumOff val="60000"/>
                  <a:alpha val="98000"/>
                </a:srgbClr>
              </a:solidFill>
              <a:effectLst/>
              <a:uLnTx/>
              <a:uFillTx/>
              <a:latin typeface="Segoe UI"/>
              <a:ea typeface=""/>
              <a:cs typeface=""/>
            </a:endParaRPr>
          </a:p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120000"/>
              <a:buFont typeface="Arial" pitchFamily="34" charset="0"/>
              <a:buNone/>
              <a:tabLst/>
              <a:defRPr/>
            </a:pPr>
            <a:r>
              <a:rPr kumimoji="0" lang="en-US" altLang="zh-CN" sz="180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40000"/>
                    <a:lumOff val="60000"/>
                    <a:alpha val="98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2016.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40000"/>
                  <a:lumOff val="60000"/>
                  <a:alpha val="98000"/>
                </a:srgbClr>
              </a:solidFill>
              <a:effectLst/>
              <a:uLnTx/>
              <a:uFillTx/>
              <a:latin typeface="Segoe UI Semibold" charset="0"/>
              <a:ea typeface="Segoe UI Semibold" charset="0"/>
              <a:cs typeface="Segoe UI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449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-2" y="2529000"/>
            <a:ext cx="12192002" cy="1800000"/>
          </a:xfrm>
          <a:prstGeom prst="rect">
            <a:avLst/>
          </a:prstGeom>
          <a:solidFill>
            <a:srgbClr val="4B89F0">
              <a:alpha val="3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-1" y="2529000"/>
            <a:ext cx="1800000" cy="1800000"/>
          </a:xfrm>
          <a:prstGeom prst="rect">
            <a:avLst/>
          </a:prstGeom>
          <a:solidFill>
            <a:srgbClr val="EAB00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3793190" y="2967468"/>
            <a:ext cx="46056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业务需求</a:t>
            </a:r>
            <a:endParaRPr kumimoji="1" lang="zh-CN" altLang="en-US" sz="5400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13" name="Freeform 13"/>
          <p:cNvSpPr>
            <a:spLocks/>
          </p:cNvSpPr>
          <p:nvPr/>
        </p:nvSpPr>
        <p:spPr bwMode="auto">
          <a:xfrm rot="10800000">
            <a:off x="474260" y="2966995"/>
            <a:ext cx="851478" cy="924008"/>
          </a:xfrm>
          <a:custGeom>
            <a:avLst/>
            <a:gdLst>
              <a:gd name="T0" fmla="*/ 52 w 526"/>
              <a:gd name="T1" fmla="*/ 561 h 615"/>
              <a:gd name="T2" fmla="*/ 24 w 526"/>
              <a:gd name="T3" fmla="*/ 533 h 615"/>
              <a:gd name="T4" fmla="*/ 52 w 526"/>
              <a:gd name="T5" fmla="*/ 506 h 615"/>
              <a:gd name="T6" fmla="*/ 40 w 526"/>
              <a:gd name="T7" fmla="*/ 466 h 615"/>
              <a:gd name="T8" fmla="*/ 25 w 526"/>
              <a:gd name="T9" fmla="*/ 429 h 615"/>
              <a:gd name="T10" fmla="*/ 165 w 526"/>
              <a:gd name="T11" fmla="*/ 413 h 615"/>
              <a:gd name="T12" fmla="*/ 31 w 526"/>
              <a:gd name="T13" fmla="*/ 369 h 615"/>
              <a:gd name="T14" fmla="*/ 31 w 526"/>
              <a:gd name="T15" fmla="*/ 329 h 615"/>
              <a:gd name="T16" fmla="*/ 165 w 526"/>
              <a:gd name="T17" fmla="*/ 283 h 615"/>
              <a:gd name="T18" fmla="*/ 25 w 526"/>
              <a:gd name="T19" fmla="*/ 267 h 615"/>
              <a:gd name="T20" fmla="*/ 40 w 526"/>
              <a:gd name="T21" fmla="*/ 230 h 615"/>
              <a:gd name="T22" fmla="*/ 52 w 526"/>
              <a:gd name="T23" fmla="*/ 192 h 615"/>
              <a:gd name="T24" fmla="*/ 25 w 526"/>
              <a:gd name="T25" fmla="*/ 176 h 615"/>
              <a:gd name="T26" fmla="*/ 40 w 526"/>
              <a:gd name="T27" fmla="*/ 139 h 615"/>
              <a:gd name="T28" fmla="*/ 52 w 526"/>
              <a:gd name="T29" fmla="*/ 99 h 615"/>
              <a:gd name="T30" fmla="*/ 25 w 526"/>
              <a:gd name="T31" fmla="*/ 83 h 615"/>
              <a:gd name="T32" fmla="*/ 40 w 526"/>
              <a:gd name="T33" fmla="*/ 46 h 615"/>
              <a:gd name="T34" fmla="*/ 235 w 526"/>
              <a:gd name="T35" fmla="*/ 52 h 615"/>
              <a:gd name="T36" fmla="*/ 235 w 526"/>
              <a:gd name="T37" fmla="*/ 92 h 615"/>
              <a:gd name="T38" fmla="*/ 165 w 526"/>
              <a:gd name="T39" fmla="*/ 99 h 615"/>
              <a:gd name="T40" fmla="*/ 235 w 526"/>
              <a:gd name="T41" fmla="*/ 145 h 615"/>
              <a:gd name="T42" fmla="*/ 235 w 526"/>
              <a:gd name="T43" fmla="*/ 185 h 615"/>
              <a:gd name="T44" fmla="*/ 165 w 526"/>
              <a:gd name="T45" fmla="*/ 192 h 615"/>
              <a:gd name="T46" fmla="*/ 235 w 526"/>
              <a:gd name="T47" fmla="*/ 236 h 615"/>
              <a:gd name="T48" fmla="*/ 235 w 526"/>
              <a:gd name="T49" fmla="*/ 276 h 615"/>
              <a:gd name="T50" fmla="*/ 165 w 526"/>
              <a:gd name="T51" fmla="*/ 322 h 615"/>
              <a:gd name="T52" fmla="*/ 240 w 526"/>
              <a:gd name="T53" fmla="*/ 338 h 615"/>
              <a:gd name="T54" fmla="*/ 226 w 526"/>
              <a:gd name="T55" fmla="*/ 375 h 615"/>
              <a:gd name="T56" fmla="*/ 215 w 526"/>
              <a:gd name="T57" fmla="*/ 413 h 615"/>
              <a:gd name="T58" fmla="*/ 242 w 526"/>
              <a:gd name="T59" fmla="*/ 441 h 615"/>
              <a:gd name="T60" fmla="*/ 215 w 526"/>
              <a:gd name="T61" fmla="*/ 468 h 615"/>
              <a:gd name="T62" fmla="*/ 226 w 526"/>
              <a:gd name="T63" fmla="*/ 508 h 615"/>
              <a:gd name="T64" fmla="*/ 240 w 526"/>
              <a:gd name="T65" fmla="*/ 544 h 615"/>
              <a:gd name="T66" fmla="*/ 165 w 526"/>
              <a:gd name="T67" fmla="*/ 561 h 615"/>
              <a:gd name="T68" fmla="*/ 504 w 526"/>
              <a:gd name="T69" fmla="*/ 370 h 615"/>
              <a:gd name="T70" fmla="*/ 488 w 526"/>
              <a:gd name="T71" fmla="*/ 578 h 615"/>
              <a:gd name="T72" fmla="*/ 277 w 526"/>
              <a:gd name="T73" fmla="*/ 572 h 615"/>
              <a:gd name="T74" fmla="*/ 271 w 526"/>
              <a:gd name="T75" fmla="*/ 359 h 615"/>
              <a:gd name="T76" fmla="*/ 401 w 526"/>
              <a:gd name="T77" fmla="*/ 341 h 615"/>
              <a:gd name="T78" fmla="*/ 292 w 526"/>
              <a:gd name="T79" fmla="*/ 276 h 615"/>
              <a:gd name="T80" fmla="*/ 292 w 526"/>
              <a:gd name="T81" fmla="*/ 236 h 615"/>
              <a:gd name="T82" fmla="*/ 401 w 526"/>
              <a:gd name="T83" fmla="*/ 192 h 615"/>
              <a:gd name="T84" fmla="*/ 292 w 526"/>
              <a:gd name="T85" fmla="*/ 185 h 615"/>
              <a:gd name="T86" fmla="*/ 292 w 526"/>
              <a:gd name="T87" fmla="*/ 145 h 615"/>
              <a:gd name="T88" fmla="*/ 401 w 526"/>
              <a:gd name="T89" fmla="*/ 99 h 615"/>
              <a:gd name="T90" fmla="*/ 292 w 526"/>
              <a:gd name="T91" fmla="*/ 92 h 615"/>
              <a:gd name="T92" fmla="*/ 292 w 526"/>
              <a:gd name="T93" fmla="*/ 52 h 615"/>
              <a:gd name="T94" fmla="*/ 487 w 526"/>
              <a:gd name="T95" fmla="*/ 46 h 615"/>
              <a:gd name="T96" fmla="*/ 501 w 526"/>
              <a:gd name="T97" fmla="*/ 83 h 615"/>
              <a:gd name="T98" fmla="*/ 475 w 526"/>
              <a:gd name="T99" fmla="*/ 99 h 615"/>
              <a:gd name="T100" fmla="*/ 487 w 526"/>
              <a:gd name="T101" fmla="*/ 139 h 615"/>
              <a:gd name="T102" fmla="*/ 501 w 526"/>
              <a:gd name="T103" fmla="*/ 176 h 615"/>
              <a:gd name="T104" fmla="*/ 475 w 526"/>
              <a:gd name="T105" fmla="*/ 192 h 615"/>
              <a:gd name="T106" fmla="*/ 487 w 526"/>
              <a:gd name="T107" fmla="*/ 230 h 615"/>
              <a:gd name="T108" fmla="*/ 501 w 526"/>
              <a:gd name="T109" fmla="*/ 267 h 615"/>
              <a:gd name="T110" fmla="*/ 401 w 526"/>
              <a:gd name="T111" fmla="*/ 283 h 615"/>
              <a:gd name="T112" fmla="*/ 497 w 526"/>
              <a:gd name="T113" fmla="*/ 350 h 615"/>
              <a:gd name="T114" fmla="*/ 526 w 526"/>
              <a:gd name="T115" fmla="*/ 370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26" h="615">
                <a:moveTo>
                  <a:pt x="0" y="615"/>
                </a:moveTo>
                <a:lnTo>
                  <a:pt x="165" y="615"/>
                </a:lnTo>
                <a:lnTo>
                  <a:pt x="165" y="561"/>
                </a:lnTo>
                <a:lnTo>
                  <a:pt x="52" y="561"/>
                </a:lnTo>
                <a:lnTo>
                  <a:pt x="40" y="559"/>
                </a:lnTo>
                <a:lnTo>
                  <a:pt x="31" y="553"/>
                </a:lnTo>
                <a:lnTo>
                  <a:pt x="25" y="544"/>
                </a:lnTo>
                <a:lnTo>
                  <a:pt x="24" y="533"/>
                </a:lnTo>
                <a:lnTo>
                  <a:pt x="25" y="522"/>
                </a:lnTo>
                <a:lnTo>
                  <a:pt x="31" y="513"/>
                </a:lnTo>
                <a:lnTo>
                  <a:pt x="40" y="508"/>
                </a:lnTo>
                <a:lnTo>
                  <a:pt x="52" y="506"/>
                </a:lnTo>
                <a:lnTo>
                  <a:pt x="165" y="506"/>
                </a:lnTo>
                <a:lnTo>
                  <a:pt x="165" y="468"/>
                </a:lnTo>
                <a:lnTo>
                  <a:pt x="52" y="468"/>
                </a:lnTo>
                <a:lnTo>
                  <a:pt x="40" y="466"/>
                </a:lnTo>
                <a:lnTo>
                  <a:pt x="31" y="460"/>
                </a:lnTo>
                <a:lnTo>
                  <a:pt x="25" y="452"/>
                </a:lnTo>
                <a:lnTo>
                  <a:pt x="24" y="441"/>
                </a:lnTo>
                <a:lnTo>
                  <a:pt x="25" y="429"/>
                </a:lnTo>
                <a:lnTo>
                  <a:pt x="31" y="421"/>
                </a:lnTo>
                <a:lnTo>
                  <a:pt x="40" y="415"/>
                </a:lnTo>
                <a:lnTo>
                  <a:pt x="52" y="413"/>
                </a:lnTo>
                <a:lnTo>
                  <a:pt x="165" y="413"/>
                </a:lnTo>
                <a:lnTo>
                  <a:pt x="165" y="376"/>
                </a:lnTo>
                <a:lnTo>
                  <a:pt x="52" y="376"/>
                </a:lnTo>
                <a:lnTo>
                  <a:pt x="40" y="375"/>
                </a:lnTo>
                <a:lnTo>
                  <a:pt x="31" y="369"/>
                </a:lnTo>
                <a:lnTo>
                  <a:pt x="25" y="360"/>
                </a:lnTo>
                <a:lnTo>
                  <a:pt x="24" y="348"/>
                </a:lnTo>
                <a:lnTo>
                  <a:pt x="25" y="338"/>
                </a:lnTo>
                <a:lnTo>
                  <a:pt x="31" y="329"/>
                </a:lnTo>
                <a:lnTo>
                  <a:pt x="40" y="323"/>
                </a:lnTo>
                <a:lnTo>
                  <a:pt x="52" y="322"/>
                </a:lnTo>
                <a:lnTo>
                  <a:pt x="165" y="322"/>
                </a:lnTo>
                <a:lnTo>
                  <a:pt x="165" y="283"/>
                </a:lnTo>
                <a:lnTo>
                  <a:pt x="52" y="283"/>
                </a:lnTo>
                <a:lnTo>
                  <a:pt x="40" y="282"/>
                </a:lnTo>
                <a:lnTo>
                  <a:pt x="31" y="276"/>
                </a:lnTo>
                <a:lnTo>
                  <a:pt x="25" y="267"/>
                </a:lnTo>
                <a:lnTo>
                  <a:pt x="24" y="257"/>
                </a:lnTo>
                <a:lnTo>
                  <a:pt x="25" y="245"/>
                </a:lnTo>
                <a:lnTo>
                  <a:pt x="31" y="236"/>
                </a:lnTo>
                <a:lnTo>
                  <a:pt x="40" y="230"/>
                </a:lnTo>
                <a:lnTo>
                  <a:pt x="52" y="229"/>
                </a:lnTo>
                <a:lnTo>
                  <a:pt x="165" y="229"/>
                </a:lnTo>
                <a:lnTo>
                  <a:pt x="165" y="192"/>
                </a:lnTo>
                <a:lnTo>
                  <a:pt x="52" y="192"/>
                </a:lnTo>
                <a:lnTo>
                  <a:pt x="52" y="192"/>
                </a:lnTo>
                <a:lnTo>
                  <a:pt x="40" y="191"/>
                </a:lnTo>
                <a:lnTo>
                  <a:pt x="31" y="185"/>
                </a:lnTo>
                <a:lnTo>
                  <a:pt x="25" y="176"/>
                </a:lnTo>
                <a:lnTo>
                  <a:pt x="24" y="164"/>
                </a:lnTo>
                <a:lnTo>
                  <a:pt x="25" y="154"/>
                </a:lnTo>
                <a:lnTo>
                  <a:pt x="31" y="145"/>
                </a:lnTo>
                <a:lnTo>
                  <a:pt x="40" y="139"/>
                </a:lnTo>
                <a:lnTo>
                  <a:pt x="52" y="138"/>
                </a:lnTo>
                <a:lnTo>
                  <a:pt x="165" y="138"/>
                </a:lnTo>
                <a:lnTo>
                  <a:pt x="165" y="99"/>
                </a:lnTo>
                <a:lnTo>
                  <a:pt x="52" y="99"/>
                </a:lnTo>
                <a:lnTo>
                  <a:pt x="52" y="99"/>
                </a:lnTo>
                <a:lnTo>
                  <a:pt x="40" y="98"/>
                </a:lnTo>
                <a:lnTo>
                  <a:pt x="31" y="92"/>
                </a:lnTo>
                <a:lnTo>
                  <a:pt x="25" y="83"/>
                </a:lnTo>
                <a:lnTo>
                  <a:pt x="24" y="73"/>
                </a:lnTo>
                <a:lnTo>
                  <a:pt x="25" y="61"/>
                </a:lnTo>
                <a:lnTo>
                  <a:pt x="31" y="52"/>
                </a:lnTo>
                <a:lnTo>
                  <a:pt x="40" y="46"/>
                </a:lnTo>
                <a:lnTo>
                  <a:pt x="52" y="45"/>
                </a:lnTo>
                <a:lnTo>
                  <a:pt x="215" y="45"/>
                </a:lnTo>
                <a:lnTo>
                  <a:pt x="226" y="46"/>
                </a:lnTo>
                <a:lnTo>
                  <a:pt x="235" y="52"/>
                </a:lnTo>
                <a:lnTo>
                  <a:pt x="240" y="61"/>
                </a:lnTo>
                <a:lnTo>
                  <a:pt x="242" y="73"/>
                </a:lnTo>
                <a:lnTo>
                  <a:pt x="240" y="83"/>
                </a:lnTo>
                <a:lnTo>
                  <a:pt x="235" y="92"/>
                </a:lnTo>
                <a:lnTo>
                  <a:pt x="226" y="98"/>
                </a:lnTo>
                <a:lnTo>
                  <a:pt x="215" y="99"/>
                </a:lnTo>
                <a:lnTo>
                  <a:pt x="215" y="99"/>
                </a:lnTo>
                <a:lnTo>
                  <a:pt x="165" y="99"/>
                </a:lnTo>
                <a:lnTo>
                  <a:pt x="165" y="138"/>
                </a:lnTo>
                <a:lnTo>
                  <a:pt x="215" y="138"/>
                </a:lnTo>
                <a:lnTo>
                  <a:pt x="226" y="139"/>
                </a:lnTo>
                <a:lnTo>
                  <a:pt x="235" y="145"/>
                </a:lnTo>
                <a:lnTo>
                  <a:pt x="240" y="154"/>
                </a:lnTo>
                <a:lnTo>
                  <a:pt x="242" y="164"/>
                </a:lnTo>
                <a:lnTo>
                  <a:pt x="240" y="176"/>
                </a:lnTo>
                <a:lnTo>
                  <a:pt x="235" y="185"/>
                </a:lnTo>
                <a:lnTo>
                  <a:pt x="226" y="191"/>
                </a:lnTo>
                <a:lnTo>
                  <a:pt x="215" y="192"/>
                </a:lnTo>
                <a:lnTo>
                  <a:pt x="215" y="192"/>
                </a:lnTo>
                <a:lnTo>
                  <a:pt x="165" y="192"/>
                </a:lnTo>
                <a:lnTo>
                  <a:pt x="165" y="229"/>
                </a:lnTo>
                <a:lnTo>
                  <a:pt x="215" y="229"/>
                </a:lnTo>
                <a:lnTo>
                  <a:pt x="226" y="230"/>
                </a:lnTo>
                <a:lnTo>
                  <a:pt x="235" y="236"/>
                </a:lnTo>
                <a:lnTo>
                  <a:pt x="240" y="245"/>
                </a:lnTo>
                <a:lnTo>
                  <a:pt x="242" y="257"/>
                </a:lnTo>
                <a:lnTo>
                  <a:pt x="240" y="267"/>
                </a:lnTo>
                <a:lnTo>
                  <a:pt x="235" y="276"/>
                </a:lnTo>
                <a:lnTo>
                  <a:pt x="226" y="282"/>
                </a:lnTo>
                <a:lnTo>
                  <a:pt x="215" y="283"/>
                </a:lnTo>
                <a:lnTo>
                  <a:pt x="165" y="283"/>
                </a:lnTo>
                <a:lnTo>
                  <a:pt x="165" y="322"/>
                </a:lnTo>
                <a:lnTo>
                  <a:pt x="215" y="322"/>
                </a:lnTo>
                <a:lnTo>
                  <a:pt x="226" y="323"/>
                </a:lnTo>
                <a:lnTo>
                  <a:pt x="235" y="329"/>
                </a:lnTo>
                <a:lnTo>
                  <a:pt x="240" y="338"/>
                </a:lnTo>
                <a:lnTo>
                  <a:pt x="242" y="348"/>
                </a:lnTo>
                <a:lnTo>
                  <a:pt x="240" y="360"/>
                </a:lnTo>
                <a:lnTo>
                  <a:pt x="235" y="369"/>
                </a:lnTo>
                <a:lnTo>
                  <a:pt x="226" y="375"/>
                </a:lnTo>
                <a:lnTo>
                  <a:pt x="215" y="376"/>
                </a:lnTo>
                <a:lnTo>
                  <a:pt x="165" y="376"/>
                </a:lnTo>
                <a:lnTo>
                  <a:pt x="165" y="413"/>
                </a:lnTo>
                <a:lnTo>
                  <a:pt x="215" y="413"/>
                </a:lnTo>
                <a:lnTo>
                  <a:pt x="226" y="415"/>
                </a:lnTo>
                <a:lnTo>
                  <a:pt x="235" y="421"/>
                </a:lnTo>
                <a:lnTo>
                  <a:pt x="240" y="429"/>
                </a:lnTo>
                <a:lnTo>
                  <a:pt x="242" y="441"/>
                </a:lnTo>
                <a:lnTo>
                  <a:pt x="240" y="452"/>
                </a:lnTo>
                <a:lnTo>
                  <a:pt x="235" y="460"/>
                </a:lnTo>
                <a:lnTo>
                  <a:pt x="226" y="466"/>
                </a:lnTo>
                <a:lnTo>
                  <a:pt x="215" y="468"/>
                </a:lnTo>
                <a:lnTo>
                  <a:pt x="165" y="468"/>
                </a:lnTo>
                <a:lnTo>
                  <a:pt x="165" y="506"/>
                </a:lnTo>
                <a:lnTo>
                  <a:pt x="215" y="506"/>
                </a:lnTo>
                <a:lnTo>
                  <a:pt x="226" y="508"/>
                </a:lnTo>
                <a:lnTo>
                  <a:pt x="235" y="513"/>
                </a:lnTo>
                <a:lnTo>
                  <a:pt x="240" y="522"/>
                </a:lnTo>
                <a:lnTo>
                  <a:pt x="242" y="533"/>
                </a:lnTo>
                <a:lnTo>
                  <a:pt x="240" y="544"/>
                </a:lnTo>
                <a:lnTo>
                  <a:pt x="235" y="553"/>
                </a:lnTo>
                <a:lnTo>
                  <a:pt x="226" y="559"/>
                </a:lnTo>
                <a:lnTo>
                  <a:pt x="215" y="561"/>
                </a:lnTo>
                <a:lnTo>
                  <a:pt x="165" y="561"/>
                </a:lnTo>
                <a:lnTo>
                  <a:pt x="165" y="615"/>
                </a:lnTo>
                <a:lnTo>
                  <a:pt x="526" y="615"/>
                </a:lnTo>
                <a:lnTo>
                  <a:pt x="526" y="370"/>
                </a:lnTo>
                <a:lnTo>
                  <a:pt x="504" y="370"/>
                </a:lnTo>
                <a:lnTo>
                  <a:pt x="504" y="553"/>
                </a:lnTo>
                <a:lnTo>
                  <a:pt x="503" y="564"/>
                </a:lnTo>
                <a:lnTo>
                  <a:pt x="497" y="572"/>
                </a:lnTo>
                <a:lnTo>
                  <a:pt x="488" y="578"/>
                </a:lnTo>
                <a:lnTo>
                  <a:pt x="476" y="581"/>
                </a:lnTo>
                <a:lnTo>
                  <a:pt x="296" y="581"/>
                </a:lnTo>
                <a:lnTo>
                  <a:pt x="286" y="578"/>
                </a:lnTo>
                <a:lnTo>
                  <a:pt x="277" y="572"/>
                </a:lnTo>
                <a:lnTo>
                  <a:pt x="271" y="564"/>
                </a:lnTo>
                <a:lnTo>
                  <a:pt x="270" y="553"/>
                </a:lnTo>
                <a:lnTo>
                  <a:pt x="270" y="369"/>
                </a:lnTo>
                <a:lnTo>
                  <a:pt x="271" y="359"/>
                </a:lnTo>
                <a:lnTo>
                  <a:pt x="277" y="350"/>
                </a:lnTo>
                <a:lnTo>
                  <a:pt x="286" y="344"/>
                </a:lnTo>
                <a:lnTo>
                  <a:pt x="296" y="341"/>
                </a:lnTo>
                <a:lnTo>
                  <a:pt x="401" y="341"/>
                </a:lnTo>
                <a:lnTo>
                  <a:pt x="401" y="283"/>
                </a:lnTo>
                <a:lnTo>
                  <a:pt x="311" y="283"/>
                </a:lnTo>
                <a:lnTo>
                  <a:pt x="301" y="282"/>
                </a:lnTo>
                <a:lnTo>
                  <a:pt x="292" y="276"/>
                </a:lnTo>
                <a:lnTo>
                  <a:pt x="286" y="267"/>
                </a:lnTo>
                <a:lnTo>
                  <a:pt x="285" y="257"/>
                </a:lnTo>
                <a:lnTo>
                  <a:pt x="286" y="245"/>
                </a:lnTo>
                <a:lnTo>
                  <a:pt x="292" y="236"/>
                </a:lnTo>
                <a:lnTo>
                  <a:pt x="301" y="230"/>
                </a:lnTo>
                <a:lnTo>
                  <a:pt x="311" y="229"/>
                </a:lnTo>
                <a:lnTo>
                  <a:pt x="401" y="229"/>
                </a:lnTo>
                <a:lnTo>
                  <a:pt x="401" y="192"/>
                </a:lnTo>
                <a:lnTo>
                  <a:pt x="311" y="192"/>
                </a:lnTo>
                <a:lnTo>
                  <a:pt x="311" y="192"/>
                </a:lnTo>
                <a:lnTo>
                  <a:pt x="301" y="191"/>
                </a:lnTo>
                <a:lnTo>
                  <a:pt x="292" y="185"/>
                </a:lnTo>
                <a:lnTo>
                  <a:pt x="286" y="176"/>
                </a:lnTo>
                <a:lnTo>
                  <a:pt x="285" y="164"/>
                </a:lnTo>
                <a:lnTo>
                  <a:pt x="286" y="154"/>
                </a:lnTo>
                <a:lnTo>
                  <a:pt x="292" y="145"/>
                </a:lnTo>
                <a:lnTo>
                  <a:pt x="301" y="139"/>
                </a:lnTo>
                <a:lnTo>
                  <a:pt x="311" y="138"/>
                </a:lnTo>
                <a:lnTo>
                  <a:pt x="401" y="138"/>
                </a:lnTo>
                <a:lnTo>
                  <a:pt x="401" y="99"/>
                </a:lnTo>
                <a:lnTo>
                  <a:pt x="311" y="99"/>
                </a:lnTo>
                <a:lnTo>
                  <a:pt x="311" y="99"/>
                </a:lnTo>
                <a:lnTo>
                  <a:pt x="301" y="98"/>
                </a:lnTo>
                <a:lnTo>
                  <a:pt x="292" y="92"/>
                </a:lnTo>
                <a:lnTo>
                  <a:pt x="286" y="83"/>
                </a:lnTo>
                <a:lnTo>
                  <a:pt x="285" y="73"/>
                </a:lnTo>
                <a:lnTo>
                  <a:pt x="286" y="61"/>
                </a:lnTo>
                <a:lnTo>
                  <a:pt x="292" y="52"/>
                </a:lnTo>
                <a:lnTo>
                  <a:pt x="301" y="46"/>
                </a:lnTo>
                <a:lnTo>
                  <a:pt x="311" y="45"/>
                </a:lnTo>
                <a:lnTo>
                  <a:pt x="475" y="45"/>
                </a:lnTo>
                <a:lnTo>
                  <a:pt x="487" y="46"/>
                </a:lnTo>
                <a:lnTo>
                  <a:pt x="495" y="52"/>
                </a:lnTo>
                <a:lnTo>
                  <a:pt x="501" y="61"/>
                </a:lnTo>
                <a:lnTo>
                  <a:pt x="503" y="73"/>
                </a:lnTo>
                <a:lnTo>
                  <a:pt x="501" y="83"/>
                </a:lnTo>
                <a:lnTo>
                  <a:pt x="495" y="92"/>
                </a:lnTo>
                <a:lnTo>
                  <a:pt x="487" y="98"/>
                </a:lnTo>
                <a:lnTo>
                  <a:pt x="475" y="99"/>
                </a:lnTo>
                <a:lnTo>
                  <a:pt x="475" y="99"/>
                </a:lnTo>
                <a:lnTo>
                  <a:pt x="401" y="99"/>
                </a:lnTo>
                <a:lnTo>
                  <a:pt x="401" y="138"/>
                </a:lnTo>
                <a:lnTo>
                  <a:pt x="475" y="138"/>
                </a:lnTo>
                <a:lnTo>
                  <a:pt x="487" y="139"/>
                </a:lnTo>
                <a:lnTo>
                  <a:pt x="495" y="145"/>
                </a:lnTo>
                <a:lnTo>
                  <a:pt x="501" y="154"/>
                </a:lnTo>
                <a:lnTo>
                  <a:pt x="503" y="164"/>
                </a:lnTo>
                <a:lnTo>
                  <a:pt x="501" y="176"/>
                </a:lnTo>
                <a:lnTo>
                  <a:pt x="495" y="185"/>
                </a:lnTo>
                <a:lnTo>
                  <a:pt x="487" y="191"/>
                </a:lnTo>
                <a:lnTo>
                  <a:pt x="475" y="192"/>
                </a:lnTo>
                <a:lnTo>
                  <a:pt x="475" y="192"/>
                </a:lnTo>
                <a:lnTo>
                  <a:pt x="401" y="192"/>
                </a:lnTo>
                <a:lnTo>
                  <a:pt x="401" y="229"/>
                </a:lnTo>
                <a:lnTo>
                  <a:pt x="475" y="229"/>
                </a:lnTo>
                <a:lnTo>
                  <a:pt x="487" y="230"/>
                </a:lnTo>
                <a:lnTo>
                  <a:pt x="495" y="236"/>
                </a:lnTo>
                <a:lnTo>
                  <a:pt x="501" y="245"/>
                </a:lnTo>
                <a:lnTo>
                  <a:pt x="503" y="257"/>
                </a:lnTo>
                <a:lnTo>
                  <a:pt x="501" y="267"/>
                </a:lnTo>
                <a:lnTo>
                  <a:pt x="495" y="276"/>
                </a:lnTo>
                <a:lnTo>
                  <a:pt x="487" y="282"/>
                </a:lnTo>
                <a:lnTo>
                  <a:pt x="475" y="283"/>
                </a:lnTo>
                <a:lnTo>
                  <a:pt x="401" y="283"/>
                </a:lnTo>
                <a:lnTo>
                  <a:pt x="401" y="341"/>
                </a:lnTo>
                <a:lnTo>
                  <a:pt x="476" y="341"/>
                </a:lnTo>
                <a:lnTo>
                  <a:pt x="488" y="344"/>
                </a:lnTo>
                <a:lnTo>
                  <a:pt x="497" y="350"/>
                </a:lnTo>
                <a:lnTo>
                  <a:pt x="503" y="359"/>
                </a:lnTo>
                <a:lnTo>
                  <a:pt x="504" y="369"/>
                </a:lnTo>
                <a:lnTo>
                  <a:pt x="504" y="370"/>
                </a:lnTo>
                <a:lnTo>
                  <a:pt x="526" y="370"/>
                </a:lnTo>
                <a:lnTo>
                  <a:pt x="526" y="0"/>
                </a:lnTo>
                <a:lnTo>
                  <a:pt x="0" y="0"/>
                </a:lnTo>
                <a:lnTo>
                  <a:pt x="0" y="61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0617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061011" y="1203263"/>
            <a:ext cx="6925235" cy="1277470"/>
          </a:xfrm>
          <a:prstGeom prst="rect">
            <a:avLst/>
          </a:prstGeom>
          <a:solidFill>
            <a:srgbClr val="EAB00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Freeform 88"/>
          <p:cNvSpPr>
            <a:spLocks noEditPoints="1"/>
          </p:cNvSpPr>
          <p:nvPr/>
        </p:nvSpPr>
        <p:spPr bwMode="auto">
          <a:xfrm rot="5400000">
            <a:off x="9989749" y="1481997"/>
            <a:ext cx="720189" cy="720002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4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403913" y="1379578"/>
            <a:ext cx="4251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业务需求</a:t>
            </a:r>
          </a:p>
        </p:txBody>
      </p:sp>
      <p:sp>
        <p:nvSpPr>
          <p:cNvPr id="15" name="矩形 14"/>
          <p:cNvSpPr/>
          <p:nvPr/>
        </p:nvSpPr>
        <p:spPr>
          <a:xfrm>
            <a:off x="4061011" y="2622816"/>
            <a:ext cx="6925236" cy="32272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1156446" y="1203263"/>
            <a:ext cx="2729754" cy="127747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1156448" y="2634178"/>
            <a:ext cx="2729752" cy="3215932"/>
          </a:xfrm>
          <a:prstGeom prst="rect">
            <a:avLst/>
          </a:prstGeom>
          <a:solidFill>
            <a:srgbClr val="EAB00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57299" y="1689776"/>
            <a:ext cx="25280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3000" dirty="0" smtClean="0">
                <a:solidFill>
                  <a:srgbClr val="0070C0"/>
                </a:solidFill>
              </a:rPr>
              <a:t>Project</a:t>
            </a:r>
            <a:r>
              <a:rPr kumimoji="1" lang="zh-CN" altLang="en-US" sz="3000" dirty="0" smtClean="0">
                <a:solidFill>
                  <a:srgbClr val="0070C0"/>
                </a:solidFill>
              </a:rPr>
              <a:t> </a:t>
            </a:r>
            <a:r>
              <a:rPr kumimoji="1" lang="en-US" altLang="zh-CN" sz="3000" dirty="0" smtClean="0">
                <a:solidFill>
                  <a:srgbClr val="0070C0"/>
                </a:solidFill>
              </a:rPr>
              <a:t>Stellar</a:t>
            </a:r>
            <a:endParaRPr kumimoji="1" lang="zh-CN" altLang="en-US" sz="3000" dirty="0" smtClean="0">
              <a:solidFill>
                <a:srgbClr val="0070C0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379640" y="1449017"/>
            <a:ext cx="1347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 smtClean="0">
                <a:solidFill>
                  <a:schemeClr val="bg2">
                    <a:lumMod val="50000"/>
                  </a:schemeClr>
                </a:solidFill>
              </a:rPr>
              <a:t>SCITLAS</a:t>
            </a:r>
            <a:endParaRPr kumimoji="1" lang="zh-CN" altLang="en-US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0" name="TextBox 5"/>
          <p:cNvSpPr txBox="1"/>
          <p:nvPr/>
        </p:nvSpPr>
        <p:spPr>
          <a:xfrm>
            <a:off x="4415406" y="2985360"/>
            <a:ext cx="6745651" cy="2502205"/>
          </a:xfrm>
          <a:prstGeom prst="rect">
            <a:avLst/>
          </a:prstGeom>
          <a:noFill/>
        </p:spPr>
        <p:txBody>
          <a:bodyPr wrap="square" lIns="68571" tIns="68571" rIns="68571" bIns="68571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AB005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金融数据处理需求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AB005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投资策略构建需求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AB005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回测模拟执行需求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endParaRPr lang="zh-CN" altLang="en-US" sz="2400" dirty="0" smtClean="0">
              <a:solidFill>
                <a:srgbClr val="EAB005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AB005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数据可视化需求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AB005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人工智能深度学习需求</a:t>
            </a:r>
            <a:endParaRPr lang="nl-BE" sz="2400" dirty="0" smtClean="0">
              <a:solidFill>
                <a:srgbClr val="EAB005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21" name="Freeform 13"/>
          <p:cNvSpPr>
            <a:spLocks/>
          </p:cNvSpPr>
          <p:nvPr/>
        </p:nvSpPr>
        <p:spPr bwMode="auto">
          <a:xfrm rot="10800000">
            <a:off x="2095584" y="3727043"/>
            <a:ext cx="851478" cy="924008"/>
          </a:xfrm>
          <a:custGeom>
            <a:avLst/>
            <a:gdLst>
              <a:gd name="T0" fmla="*/ 52 w 526"/>
              <a:gd name="T1" fmla="*/ 561 h 615"/>
              <a:gd name="T2" fmla="*/ 24 w 526"/>
              <a:gd name="T3" fmla="*/ 533 h 615"/>
              <a:gd name="T4" fmla="*/ 52 w 526"/>
              <a:gd name="T5" fmla="*/ 506 h 615"/>
              <a:gd name="T6" fmla="*/ 40 w 526"/>
              <a:gd name="T7" fmla="*/ 466 h 615"/>
              <a:gd name="T8" fmla="*/ 25 w 526"/>
              <a:gd name="T9" fmla="*/ 429 h 615"/>
              <a:gd name="T10" fmla="*/ 165 w 526"/>
              <a:gd name="T11" fmla="*/ 413 h 615"/>
              <a:gd name="T12" fmla="*/ 31 w 526"/>
              <a:gd name="T13" fmla="*/ 369 h 615"/>
              <a:gd name="T14" fmla="*/ 31 w 526"/>
              <a:gd name="T15" fmla="*/ 329 h 615"/>
              <a:gd name="T16" fmla="*/ 165 w 526"/>
              <a:gd name="T17" fmla="*/ 283 h 615"/>
              <a:gd name="T18" fmla="*/ 25 w 526"/>
              <a:gd name="T19" fmla="*/ 267 h 615"/>
              <a:gd name="T20" fmla="*/ 40 w 526"/>
              <a:gd name="T21" fmla="*/ 230 h 615"/>
              <a:gd name="T22" fmla="*/ 52 w 526"/>
              <a:gd name="T23" fmla="*/ 192 h 615"/>
              <a:gd name="T24" fmla="*/ 25 w 526"/>
              <a:gd name="T25" fmla="*/ 176 h 615"/>
              <a:gd name="T26" fmla="*/ 40 w 526"/>
              <a:gd name="T27" fmla="*/ 139 h 615"/>
              <a:gd name="T28" fmla="*/ 52 w 526"/>
              <a:gd name="T29" fmla="*/ 99 h 615"/>
              <a:gd name="T30" fmla="*/ 25 w 526"/>
              <a:gd name="T31" fmla="*/ 83 h 615"/>
              <a:gd name="T32" fmla="*/ 40 w 526"/>
              <a:gd name="T33" fmla="*/ 46 h 615"/>
              <a:gd name="T34" fmla="*/ 235 w 526"/>
              <a:gd name="T35" fmla="*/ 52 h 615"/>
              <a:gd name="T36" fmla="*/ 235 w 526"/>
              <a:gd name="T37" fmla="*/ 92 h 615"/>
              <a:gd name="T38" fmla="*/ 165 w 526"/>
              <a:gd name="T39" fmla="*/ 99 h 615"/>
              <a:gd name="T40" fmla="*/ 235 w 526"/>
              <a:gd name="T41" fmla="*/ 145 h 615"/>
              <a:gd name="T42" fmla="*/ 235 w 526"/>
              <a:gd name="T43" fmla="*/ 185 h 615"/>
              <a:gd name="T44" fmla="*/ 165 w 526"/>
              <a:gd name="T45" fmla="*/ 192 h 615"/>
              <a:gd name="T46" fmla="*/ 235 w 526"/>
              <a:gd name="T47" fmla="*/ 236 h 615"/>
              <a:gd name="T48" fmla="*/ 235 w 526"/>
              <a:gd name="T49" fmla="*/ 276 h 615"/>
              <a:gd name="T50" fmla="*/ 165 w 526"/>
              <a:gd name="T51" fmla="*/ 322 h 615"/>
              <a:gd name="T52" fmla="*/ 240 w 526"/>
              <a:gd name="T53" fmla="*/ 338 h 615"/>
              <a:gd name="T54" fmla="*/ 226 w 526"/>
              <a:gd name="T55" fmla="*/ 375 h 615"/>
              <a:gd name="T56" fmla="*/ 215 w 526"/>
              <a:gd name="T57" fmla="*/ 413 h 615"/>
              <a:gd name="T58" fmla="*/ 242 w 526"/>
              <a:gd name="T59" fmla="*/ 441 h 615"/>
              <a:gd name="T60" fmla="*/ 215 w 526"/>
              <a:gd name="T61" fmla="*/ 468 h 615"/>
              <a:gd name="T62" fmla="*/ 226 w 526"/>
              <a:gd name="T63" fmla="*/ 508 h 615"/>
              <a:gd name="T64" fmla="*/ 240 w 526"/>
              <a:gd name="T65" fmla="*/ 544 h 615"/>
              <a:gd name="T66" fmla="*/ 165 w 526"/>
              <a:gd name="T67" fmla="*/ 561 h 615"/>
              <a:gd name="T68" fmla="*/ 504 w 526"/>
              <a:gd name="T69" fmla="*/ 370 h 615"/>
              <a:gd name="T70" fmla="*/ 488 w 526"/>
              <a:gd name="T71" fmla="*/ 578 h 615"/>
              <a:gd name="T72" fmla="*/ 277 w 526"/>
              <a:gd name="T73" fmla="*/ 572 h 615"/>
              <a:gd name="T74" fmla="*/ 271 w 526"/>
              <a:gd name="T75" fmla="*/ 359 h 615"/>
              <a:gd name="T76" fmla="*/ 401 w 526"/>
              <a:gd name="T77" fmla="*/ 341 h 615"/>
              <a:gd name="T78" fmla="*/ 292 w 526"/>
              <a:gd name="T79" fmla="*/ 276 h 615"/>
              <a:gd name="T80" fmla="*/ 292 w 526"/>
              <a:gd name="T81" fmla="*/ 236 h 615"/>
              <a:gd name="T82" fmla="*/ 401 w 526"/>
              <a:gd name="T83" fmla="*/ 192 h 615"/>
              <a:gd name="T84" fmla="*/ 292 w 526"/>
              <a:gd name="T85" fmla="*/ 185 h 615"/>
              <a:gd name="T86" fmla="*/ 292 w 526"/>
              <a:gd name="T87" fmla="*/ 145 h 615"/>
              <a:gd name="T88" fmla="*/ 401 w 526"/>
              <a:gd name="T89" fmla="*/ 99 h 615"/>
              <a:gd name="T90" fmla="*/ 292 w 526"/>
              <a:gd name="T91" fmla="*/ 92 h 615"/>
              <a:gd name="T92" fmla="*/ 292 w 526"/>
              <a:gd name="T93" fmla="*/ 52 h 615"/>
              <a:gd name="T94" fmla="*/ 487 w 526"/>
              <a:gd name="T95" fmla="*/ 46 h 615"/>
              <a:gd name="T96" fmla="*/ 501 w 526"/>
              <a:gd name="T97" fmla="*/ 83 h 615"/>
              <a:gd name="T98" fmla="*/ 475 w 526"/>
              <a:gd name="T99" fmla="*/ 99 h 615"/>
              <a:gd name="T100" fmla="*/ 487 w 526"/>
              <a:gd name="T101" fmla="*/ 139 h 615"/>
              <a:gd name="T102" fmla="*/ 501 w 526"/>
              <a:gd name="T103" fmla="*/ 176 h 615"/>
              <a:gd name="T104" fmla="*/ 475 w 526"/>
              <a:gd name="T105" fmla="*/ 192 h 615"/>
              <a:gd name="T106" fmla="*/ 487 w 526"/>
              <a:gd name="T107" fmla="*/ 230 h 615"/>
              <a:gd name="T108" fmla="*/ 501 w 526"/>
              <a:gd name="T109" fmla="*/ 267 h 615"/>
              <a:gd name="T110" fmla="*/ 401 w 526"/>
              <a:gd name="T111" fmla="*/ 283 h 615"/>
              <a:gd name="T112" fmla="*/ 497 w 526"/>
              <a:gd name="T113" fmla="*/ 350 h 615"/>
              <a:gd name="T114" fmla="*/ 526 w 526"/>
              <a:gd name="T115" fmla="*/ 370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26" h="615">
                <a:moveTo>
                  <a:pt x="0" y="615"/>
                </a:moveTo>
                <a:lnTo>
                  <a:pt x="165" y="615"/>
                </a:lnTo>
                <a:lnTo>
                  <a:pt x="165" y="561"/>
                </a:lnTo>
                <a:lnTo>
                  <a:pt x="52" y="561"/>
                </a:lnTo>
                <a:lnTo>
                  <a:pt x="40" y="559"/>
                </a:lnTo>
                <a:lnTo>
                  <a:pt x="31" y="553"/>
                </a:lnTo>
                <a:lnTo>
                  <a:pt x="25" y="544"/>
                </a:lnTo>
                <a:lnTo>
                  <a:pt x="24" y="533"/>
                </a:lnTo>
                <a:lnTo>
                  <a:pt x="25" y="522"/>
                </a:lnTo>
                <a:lnTo>
                  <a:pt x="31" y="513"/>
                </a:lnTo>
                <a:lnTo>
                  <a:pt x="40" y="508"/>
                </a:lnTo>
                <a:lnTo>
                  <a:pt x="52" y="506"/>
                </a:lnTo>
                <a:lnTo>
                  <a:pt x="165" y="506"/>
                </a:lnTo>
                <a:lnTo>
                  <a:pt x="165" y="468"/>
                </a:lnTo>
                <a:lnTo>
                  <a:pt x="52" y="468"/>
                </a:lnTo>
                <a:lnTo>
                  <a:pt x="40" y="466"/>
                </a:lnTo>
                <a:lnTo>
                  <a:pt x="31" y="460"/>
                </a:lnTo>
                <a:lnTo>
                  <a:pt x="25" y="452"/>
                </a:lnTo>
                <a:lnTo>
                  <a:pt x="24" y="441"/>
                </a:lnTo>
                <a:lnTo>
                  <a:pt x="25" y="429"/>
                </a:lnTo>
                <a:lnTo>
                  <a:pt x="31" y="421"/>
                </a:lnTo>
                <a:lnTo>
                  <a:pt x="40" y="415"/>
                </a:lnTo>
                <a:lnTo>
                  <a:pt x="52" y="413"/>
                </a:lnTo>
                <a:lnTo>
                  <a:pt x="165" y="413"/>
                </a:lnTo>
                <a:lnTo>
                  <a:pt x="165" y="376"/>
                </a:lnTo>
                <a:lnTo>
                  <a:pt x="52" y="376"/>
                </a:lnTo>
                <a:lnTo>
                  <a:pt x="40" y="375"/>
                </a:lnTo>
                <a:lnTo>
                  <a:pt x="31" y="369"/>
                </a:lnTo>
                <a:lnTo>
                  <a:pt x="25" y="360"/>
                </a:lnTo>
                <a:lnTo>
                  <a:pt x="24" y="348"/>
                </a:lnTo>
                <a:lnTo>
                  <a:pt x="25" y="338"/>
                </a:lnTo>
                <a:lnTo>
                  <a:pt x="31" y="329"/>
                </a:lnTo>
                <a:lnTo>
                  <a:pt x="40" y="323"/>
                </a:lnTo>
                <a:lnTo>
                  <a:pt x="52" y="322"/>
                </a:lnTo>
                <a:lnTo>
                  <a:pt x="165" y="322"/>
                </a:lnTo>
                <a:lnTo>
                  <a:pt x="165" y="283"/>
                </a:lnTo>
                <a:lnTo>
                  <a:pt x="52" y="283"/>
                </a:lnTo>
                <a:lnTo>
                  <a:pt x="40" y="282"/>
                </a:lnTo>
                <a:lnTo>
                  <a:pt x="31" y="276"/>
                </a:lnTo>
                <a:lnTo>
                  <a:pt x="25" y="267"/>
                </a:lnTo>
                <a:lnTo>
                  <a:pt x="24" y="257"/>
                </a:lnTo>
                <a:lnTo>
                  <a:pt x="25" y="245"/>
                </a:lnTo>
                <a:lnTo>
                  <a:pt x="31" y="236"/>
                </a:lnTo>
                <a:lnTo>
                  <a:pt x="40" y="230"/>
                </a:lnTo>
                <a:lnTo>
                  <a:pt x="52" y="229"/>
                </a:lnTo>
                <a:lnTo>
                  <a:pt x="165" y="229"/>
                </a:lnTo>
                <a:lnTo>
                  <a:pt x="165" y="192"/>
                </a:lnTo>
                <a:lnTo>
                  <a:pt x="52" y="192"/>
                </a:lnTo>
                <a:lnTo>
                  <a:pt x="52" y="192"/>
                </a:lnTo>
                <a:lnTo>
                  <a:pt x="40" y="191"/>
                </a:lnTo>
                <a:lnTo>
                  <a:pt x="31" y="185"/>
                </a:lnTo>
                <a:lnTo>
                  <a:pt x="25" y="176"/>
                </a:lnTo>
                <a:lnTo>
                  <a:pt x="24" y="164"/>
                </a:lnTo>
                <a:lnTo>
                  <a:pt x="25" y="154"/>
                </a:lnTo>
                <a:lnTo>
                  <a:pt x="31" y="145"/>
                </a:lnTo>
                <a:lnTo>
                  <a:pt x="40" y="139"/>
                </a:lnTo>
                <a:lnTo>
                  <a:pt x="52" y="138"/>
                </a:lnTo>
                <a:lnTo>
                  <a:pt x="165" y="138"/>
                </a:lnTo>
                <a:lnTo>
                  <a:pt x="165" y="99"/>
                </a:lnTo>
                <a:lnTo>
                  <a:pt x="52" y="99"/>
                </a:lnTo>
                <a:lnTo>
                  <a:pt x="52" y="99"/>
                </a:lnTo>
                <a:lnTo>
                  <a:pt x="40" y="98"/>
                </a:lnTo>
                <a:lnTo>
                  <a:pt x="31" y="92"/>
                </a:lnTo>
                <a:lnTo>
                  <a:pt x="25" y="83"/>
                </a:lnTo>
                <a:lnTo>
                  <a:pt x="24" y="73"/>
                </a:lnTo>
                <a:lnTo>
                  <a:pt x="25" y="61"/>
                </a:lnTo>
                <a:lnTo>
                  <a:pt x="31" y="52"/>
                </a:lnTo>
                <a:lnTo>
                  <a:pt x="40" y="46"/>
                </a:lnTo>
                <a:lnTo>
                  <a:pt x="52" y="45"/>
                </a:lnTo>
                <a:lnTo>
                  <a:pt x="215" y="45"/>
                </a:lnTo>
                <a:lnTo>
                  <a:pt x="226" y="46"/>
                </a:lnTo>
                <a:lnTo>
                  <a:pt x="235" y="52"/>
                </a:lnTo>
                <a:lnTo>
                  <a:pt x="240" y="61"/>
                </a:lnTo>
                <a:lnTo>
                  <a:pt x="242" y="73"/>
                </a:lnTo>
                <a:lnTo>
                  <a:pt x="240" y="83"/>
                </a:lnTo>
                <a:lnTo>
                  <a:pt x="235" y="92"/>
                </a:lnTo>
                <a:lnTo>
                  <a:pt x="226" y="98"/>
                </a:lnTo>
                <a:lnTo>
                  <a:pt x="215" y="99"/>
                </a:lnTo>
                <a:lnTo>
                  <a:pt x="215" y="99"/>
                </a:lnTo>
                <a:lnTo>
                  <a:pt x="165" y="99"/>
                </a:lnTo>
                <a:lnTo>
                  <a:pt x="165" y="138"/>
                </a:lnTo>
                <a:lnTo>
                  <a:pt x="215" y="138"/>
                </a:lnTo>
                <a:lnTo>
                  <a:pt x="226" y="139"/>
                </a:lnTo>
                <a:lnTo>
                  <a:pt x="235" y="145"/>
                </a:lnTo>
                <a:lnTo>
                  <a:pt x="240" y="154"/>
                </a:lnTo>
                <a:lnTo>
                  <a:pt x="242" y="164"/>
                </a:lnTo>
                <a:lnTo>
                  <a:pt x="240" y="176"/>
                </a:lnTo>
                <a:lnTo>
                  <a:pt x="235" y="185"/>
                </a:lnTo>
                <a:lnTo>
                  <a:pt x="226" y="191"/>
                </a:lnTo>
                <a:lnTo>
                  <a:pt x="215" y="192"/>
                </a:lnTo>
                <a:lnTo>
                  <a:pt x="215" y="192"/>
                </a:lnTo>
                <a:lnTo>
                  <a:pt x="165" y="192"/>
                </a:lnTo>
                <a:lnTo>
                  <a:pt x="165" y="229"/>
                </a:lnTo>
                <a:lnTo>
                  <a:pt x="215" y="229"/>
                </a:lnTo>
                <a:lnTo>
                  <a:pt x="226" y="230"/>
                </a:lnTo>
                <a:lnTo>
                  <a:pt x="235" y="236"/>
                </a:lnTo>
                <a:lnTo>
                  <a:pt x="240" y="245"/>
                </a:lnTo>
                <a:lnTo>
                  <a:pt x="242" y="257"/>
                </a:lnTo>
                <a:lnTo>
                  <a:pt x="240" y="267"/>
                </a:lnTo>
                <a:lnTo>
                  <a:pt x="235" y="276"/>
                </a:lnTo>
                <a:lnTo>
                  <a:pt x="226" y="282"/>
                </a:lnTo>
                <a:lnTo>
                  <a:pt x="215" y="283"/>
                </a:lnTo>
                <a:lnTo>
                  <a:pt x="165" y="283"/>
                </a:lnTo>
                <a:lnTo>
                  <a:pt x="165" y="322"/>
                </a:lnTo>
                <a:lnTo>
                  <a:pt x="215" y="322"/>
                </a:lnTo>
                <a:lnTo>
                  <a:pt x="226" y="323"/>
                </a:lnTo>
                <a:lnTo>
                  <a:pt x="235" y="329"/>
                </a:lnTo>
                <a:lnTo>
                  <a:pt x="240" y="338"/>
                </a:lnTo>
                <a:lnTo>
                  <a:pt x="242" y="348"/>
                </a:lnTo>
                <a:lnTo>
                  <a:pt x="240" y="360"/>
                </a:lnTo>
                <a:lnTo>
                  <a:pt x="235" y="369"/>
                </a:lnTo>
                <a:lnTo>
                  <a:pt x="226" y="375"/>
                </a:lnTo>
                <a:lnTo>
                  <a:pt x="215" y="376"/>
                </a:lnTo>
                <a:lnTo>
                  <a:pt x="165" y="376"/>
                </a:lnTo>
                <a:lnTo>
                  <a:pt x="165" y="413"/>
                </a:lnTo>
                <a:lnTo>
                  <a:pt x="215" y="413"/>
                </a:lnTo>
                <a:lnTo>
                  <a:pt x="226" y="415"/>
                </a:lnTo>
                <a:lnTo>
                  <a:pt x="235" y="421"/>
                </a:lnTo>
                <a:lnTo>
                  <a:pt x="240" y="429"/>
                </a:lnTo>
                <a:lnTo>
                  <a:pt x="242" y="441"/>
                </a:lnTo>
                <a:lnTo>
                  <a:pt x="240" y="452"/>
                </a:lnTo>
                <a:lnTo>
                  <a:pt x="235" y="460"/>
                </a:lnTo>
                <a:lnTo>
                  <a:pt x="226" y="466"/>
                </a:lnTo>
                <a:lnTo>
                  <a:pt x="215" y="468"/>
                </a:lnTo>
                <a:lnTo>
                  <a:pt x="165" y="468"/>
                </a:lnTo>
                <a:lnTo>
                  <a:pt x="165" y="506"/>
                </a:lnTo>
                <a:lnTo>
                  <a:pt x="215" y="506"/>
                </a:lnTo>
                <a:lnTo>
                  <a:pt x="226" y="508"/>
                </a:lnTo>
                <a:lnTo>
                  <a:pt x="235" y="513"/>
                </a:lnTo>
                <a:lnTo>
                  <a:pt x="240" y="522"/>
                </a:lnTo>
                <a:lnTo>
                  <a:pt x="242" y="533"/>
                </a:lnTo>
                <a:lnTo>
                  <a:pt x="240" y="544"/>
                </a:lnTo>
                <a:lnTo>
                  <a:pt x="235" y="553"/>
                </a:lnTo>
                <a:lnTo>
                  <a:pt x="226" y="559"/>
                </a:lnTo>
                <a:lnTo>
                  <a:pt x="215" y="561"/>
                </a:lnTo>
                <a:lnTo>
                  <a:pt x="165" y="561"/>
                </a:lnTo>
                <a:lnTo>
                  <a:pt x="165" y="615"/>
                </a:lnTo>
                <a:lnTo>
                  <a:pt x="526" y="615"/>
                </a:lnTo>
                <a:lnTo>
                  <a:pt x="526" y="370"/>
                </a:lnTo>
                <a:lnTo>
                  <a:pt x="504" y="370"/>
                </a:lnTo>
                <a:lnTo>
                  <a:pt x="504" y="553"/>
                </a:lnTo>
                <a:lnTo>
                  <a:pt x="503" y="564"/>
                </a:lnTo>
                <a:lnTo>
                  <a:pt x="497" y="572"/>
                </a:lnTo>
                <a:lnTo>
                  <a:pt x="488" y="578"/>
                </a:lnTo>
                <a:lnTo>
                  <a:pt x="476" y="581"/>
                </a:lnTo>
                <a:lnTo>
                  <a:pt x="296" y="581"/>
                </a:lnTo>
                <a:lnTo>
                  <a:pt x="286" y="578"/>
                </a:lnTo>
                <a:lnTo>
                  <a:pt x="277" y="572"/>
                </a:lnTo>
                <a:lnTo>
                  <a:pt x="271" y="564"/>
                </a:lnTo>
                <a:lnTo>
                  <a:pt x="270" y="553"/>
                </a:lnTo>
                <a:lnTo>
                  <a:pt x="270" y="369"/>
                </a:lnTo>
                <a:lnTo>
                  <a:pt x="271" y="359"/>
                </a:lnTo>
                <a:lnTo>
                  <a:pt x="277" y="350"/>
                </a:lnTo>
                <a:lnTo>
                  <a:pt x="286" y="344"/>
                </a:lnTo>
                <a:lnTo>
                  <a:pt x="296" y="341"/>
                </a:lnTo>
                <a:lnTo>
                  <a:pt x="401" y="341"/>
                </a:lnTo>
                <a:lnTo>
                  <a:pt x="401" y="283"/>
                </a:lnTo>
                <a:lnTo>
                  <a:pt x="311" y="283"/>
                </a:lnTo>
                <a:lnTo>
                  <a:pt x="301" y="282"/>
                </a:lnTo>
                <a:lnTo>
                  <a:pt x="292" y="276"/>
                </a:lnTo>
                <a:lnTo>
                  <a:pt x="286" y="267"/>
                </a:lnTo>
                <a:lnTo>
                  <a:pt x="285" y="257"/>
                </a:lnTo>
                <a:lnTo>
                  <a:pt x="286" y="245"/>
                </a:lnTo>
                <a:lnTo>
                  <a:pt x="292" y="236"/>
                </a:lnTo>
                <a:lnTo>
                  <a:pt x="301" y="230"/>
                </a:lnTo>
                <a:lnTo>
                  <a:pt x="311" y="229"/>
                </a:lnTo>
                <a:lnTo>
                  <a:pt x="401" y="229"/>
                </a:lnTo>
                <a:lnTo>
                  <a:pt x="401" y="192"/>
                </a:lnTo>
                <a:lnTo>
                  <a:pt x="311" y="192"/>
                </a:lnTo>
                <a:lnTo>
                  <a:pt x="311" y="192"/>
                </a:lnTo>
                <a:lnTo>
                  <a:pt x="301" y="191"/>
                </a:lnTo>
                <a:lnTo>
                  <a:pt x="292" y="185"/>
                </a:lnTo>
                <a:lnTo>
                  <a:pt x="286" y="176"/>
                </a:lnTo>
                <a:lnTo>
                  <a:pt x="285" y="164"/>
                </a:lnTo>
                <a:lnTo>
                  <a:pt x="286" y="154"/>
                </a:lnTo>
                <a:lnTo>
                  <a:pt x="292" y="145"/>
                </a:lnTo>
                <a:lnTo>
                  <a:pt x="301" y="139"/>
                </a:lnTo>
                <a:lnTo>
                  <a:pt x="311" y="138"/>
                </a:lnTo>
                <a:lnTo>
                  <a:pt x="401" y="138"/>
                </a:lnTo>
                <a:lnTo>
                  <a:pt x="401" y="99"/>
                </a:lnTo>
                <a:lnTo>
                  <a:pt x="311" y="99"/>
                </a:lnTo>
                <a:lnTo>
                  <a:pt x="311" y="99"/>
                </a:lnTo>
                <a:lnTo>
                  <a:pt x="301" y="98"/>
                </a:lnTo>
                <a:lnTo>
                  <a:pt x="292" y="92"/>
                </a:lnTo>
                <a:lnTo>
                  <a:pt x="286" y="83"/>
                </a:lnTo>
                <a:lnTo>
                  <a:pt x="285" y="73"/>
                </a:lnTo>
                <a:lnTo>
                  <a:pt x="286" y="61"/>
                </a:lnTo>
                <a:lnTo>
                  <a:pt x="292" y="52"/>
                </a:lnTo>
                <a:lnTo>
                  <a:pt x="301" y="46"/>
                </a:lnTo>
                <a:lnTo>
                  <a:pt x="311" y="45"/>
                </a:lnTo>
                <a:lnTo>
                  <a:pt x="475" y="45"/>
                </a:lnTo>
                <a:lnTo>
                  <a:pt x="487" y="46"/>
                </a:lnTo>
                <a:lnTo>
                  <a:pt x="495" y="52"/>
                </a:lnTo>
                <a:lnTo>
                  <a:pt x="501" y="61"/>
                </a:lnTo>
                <a:lnTo>
                  <a:pt x="503" y="73"/>
                </a:lnTo>
                <a:lnTo>
                  <a:pt x="501" y="83"/>
                </a:lnTo>
                <a:lnTo>
                  <a:pt x="495" y="92"/>
                </a:lnTo>
                <a:lnTo>
                  <a:pt x="487" y="98"/>
                </a:lnTo>
                <a:lnTo>
                  <a:pt x="475" y="99"/>
                </a:lnTo>
                <a:lnTo>
                  <a:pt x="475" y="99"/>
                </a:lnTo>
                <a:lnTo>
                  <a:pt x="401" y="99"/>
                </a:lnTo>
                <a:lnTo>
                  <a:pt x="401" y="138"/>
                </a:lnTo>
                <a:lnTo>
                  <a:pt x="475" y="138"/>
                </a:lnTo>
                <a:lnTo>
                  <a:pt x="487" y="139"/>
                </a:lnTo>
                <a:lnTo>
                  <a:pt x="495" y="145"/>
                </a:lnTo>
                <a:lnTo>
                  <a:pt x="501" y="154"/>
                </a:lnTo>
                <a:lnTo>
                  <a:pt x="503" y="164"/>
                </a:lnTo>
                <a:lnTo>
                  <a:pt x="501" y="176"/>
                </a:lnTo>
                <a:lnTo>
                  <a:pt x="495" y="185"/>
                </a:lnTo>
                <a:lnTo>
                  <a:pt x="487" y="191"/>
                </a:lnTo>
                <a:lnTo>
                  <a:pt x="475" y="192"/>
                </a:lnTo>
                <a:lnTo>
                  <a:pt x="475" y="192"/>
                </a:lnTo>
                <a:lnTo>
                  <a:pt x="401" y="192"/>
                </a:lnTo>
                <a:lnTo>
                  <a:pt x="401" y="229"/>
                </a:lnTo>
                <a:lnTo>
                  <a:pt x="475" y="229"/>
                </a:lnTo>
                <a:lnTo>
                  <a:pt x="487" y="230"/>
                </a:lnTo>
                <a:lnTo>
                  <a:pt x="495" y="236"/>
                </a:lnTo>
                <a:lnTo>
                  <a:pt x="501" y="245"/>
                </a:lnTo>
                <a:lnTo>
                  <a:pt x="503" y="257"/>
                </a:lnTo>
                <a:lnTo>
                  <a:pt x="501" y="267"/>
                </a:lnTo>
                <a:lnTo>
                  <a:pt x="495" y="276"/>
                </a:lnTo>
                <a:lnTo>
                  <a:pt x="487" y="282"/>
                </a:lnTo>
                <a:lnTo>
                  <a:pt x="475" y="283"/>
                </a:lnTo>
                <a:lnTo>
                  <a:pt x="401" y="283"/>
                </a:lnTo>
                <a:lnTo>
                  <a:pt x="401" y="341"/>
                </a:lnTo>
                <a:lnTo>
                  <a:pt x="476" y="341"/>
                </a:lnTo>
                <a:lnTo>
                  <a:pt x="488" y="344"/>
                </a:lnTo>
                <a:lnTo>
                  <a:pt x="497" y="350"/>
                </a:lnTo>
                <a:lnTo>
                  <a:pt x="503" y="359"/>
                </a:lnTo>
                <a:lnTo>
                  <a:pt x="504" y="369"/>
                </a:lnTo>
                <a:lnTo>
                  <a:pt x="504" y="370"/>
                </a:lnTo>
                <a:lnTo>
                  <a:pt x="526" y="370"/>
                </a:lnTo>
                <a:lnTo>
                  <a:pt x="526" y="0"/>
                </a:lnTo>
                <a:lnTo>
                  <a:pt x="0" y="0"/>
                </a:lnTo>
                <a:lnTo>
                  <a:pt x="0" y="61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014701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53" name="Rectangle 2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51331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从可靠的数据供应商处，通过</a:t>
            </a: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API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或者直接下载的方式，获取如下数据：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altLang="zh-CN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1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、交易数据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2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、投资参考数据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altLang="zh-CN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3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、基本面数据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4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、宏观经济数据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altLang="zh-CN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5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、新闻事件数据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altLang="zh-CN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6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、龙虎榜数据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altLang="zh-CN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7</a:t>
            </a:r>
            <a:r>
              <a:rPr lang="zh-CN" altLang="en-US" sz="1200" kern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、银行间同业拆放利率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55" name="Rectangle 31"/>
          <p:cNvSpPr/>
          <p:nvPr>
            <p:custDataLst>
              <p:tags r:id="rId2"/>
            </p:custDataLst>
          </p:nvPr>
        </p:nvSpPr>
        <p:spPr bwMode="auto">
          <a:xfrm>
            <a:off x="513314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1.</a:t>
            </a:r>
            <a:r>
              <a:rPr lang="en-US" altLang="zh-CN" sz="15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1</a:t>
            </a:r>
            <a:r>
              <a:rPr lang="zh-CN" altLang="en-US" sz="15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 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数据获取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409303" y="1175040"/>
            <a:ext cx="10759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R1.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 金融数据处理需求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8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82802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将获取到的数据以如下两种方式存储为原始数据：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en-US" altLang="zh-CN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1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、数据库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2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、</a:t>
            </a: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csv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文件</a:t>
            </a:r>
            <a:endParaRPr kumimoji="0" lang="zh-CN" alt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zh-CN" alt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具体使用哪种方式，在关键技术章节做深入分析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60" name="Rectangle 31"/>
          <p:cNvSpPr/>
          <p:nvPr>
            <p:custDataLst>
              <p:tags r:id="rId4"/>
            </p:custDataLst>
          </p:nvPr>
        </p:nvSpPr>
        <p:spPr bwMode="auto">
          <a:xfrm>
            <a:off x="2828024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1.2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数据存储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62" name="Rectangle 2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14273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使用数据清洗技术对原始数据进行处理，确保处理后的数据达到数据分析阶段的准入条件。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zh-CN" altLang="en-US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比较可靠的数据供应商提供的数据，一般都经过处理，在有效性和一致性方面基本能达到数据分析准入要求，即使发现错误，也能及时修复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64" name="Rectangle 31"/>
          <p:cNvSpPr/>
          <p:nvPr>
            <p:custDataLst>
              <p:tags r:id="rId6"/>
            </p:custDataLst>
          </p:nvPr>
        </p:nvSpPr>
        <p:spPr bwMode="auto">
          <a:xfrm>
            <a:off x="5142734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1.3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数据处理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70" name="Rectangle 22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745744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对处理后的数据，使用比较成熟的数据挖掘方法（</a:t>
            </a: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分类、估计、预测、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聚类等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）进行分析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，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寻找隐藏的规律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72" name="Rectangle 31"/>
          <p:cNvSpPr/>
          <p:nvPr>
            <p:custDataLst>
              <p:tags r:id="rId8"/>
            </p:custDataLst>
          </p:nvPr>
        </p:nvSpPr>
        <p:spPr bwMode="auto">
          <a:xfrm>
            <a:off x="7457444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1.4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数据挖掘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75" name="Rectangle 2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977215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将处理后的数据，以及挖掘后的过程性数据，作为有效输入，录入到系统</a:t>
            </a: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AI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中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77" name="Rectangle 31"/>
          <p:cNvSpPr/>
          <p:nvPr>
            <p:custDataLst>
              <p:tags r:id="rId10"/>
            </p:custDataLst>
          </p:nvPr>
        </p:nvSpPr>
        <p:spPr bwMode="auto">
          <a:xfrm>
            <a:off x="9772154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1.5</a:t>
            </a:r>
            <a:r>
              <a:rPr kumimoji="0" lang="zh-CN" altLang="en-US" sz="1500" u="none" strike="noStrike" kern="0" cap="none" spc="0" normalizeH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</a:t>
            </a:r>
            <a:r>
              <a:rPr kumimoji="0" lang="en-US" altLang="zh-CN" sz="1500" u="none" strike="noStrike" kern="0" cap="none" spc="0" normalizeH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AI</a:t>
            </a:r>
            <a:r>
              <a:rPr kumimoji="0" lang="zh-CN" altLang="en-US" sz="1500" u="none" strike="noStrike" kern="0" cap="none" spc="0" normalizeH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数据输入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pic>
        <p:nvPicPr>
          <p:cNvPr id="98" name="Picture 4" descr="\\MAGNUM\Projects\Microsoft\Cloud Power FY12\Design\Icons\PNGs\IT_guy.png"/>
          <p:cNvPicPr>
            <a:picLocks noChangeAspect="1" noChangeArrowheads="1"/>
          </p:cNvPicPr>
          <p:nvPr/>
        </p:nvPicPr>
        <p:blipFill>
          <a:blip r:embed="rId14" cstate="print">
            <a:lum bright="100000"/>
          </a:blip>
          <a:stretch>
            <a:fillRect/>
          </a:stretch>
        </p:blipFill>
        <p:spPr bwMode="auto">
          <a:xfrm>
            <a:off x="7910188" y="2263393"/>
            <a:ext cx="1014751" cy="1014486"/>
          </a:xfrm>
          <a:prstGeom prst="rect">
            <a:avLst/>
          </a:prstGeom>
          <a:noFill/>
        </p:spPr>
      </p:pic>
      <p:pic>
        <p:nvPicPr>
          <p:cNvPr id="100" name="Picture 137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5717259" y="2338277"/>
            <a:ext cx="757481" cy="864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" name="Picture 3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462" y="2460783"/>
            <a:ext cx="533364" cy="6204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" name="Freeform 25"/>
          <p:cNvSpPr>
            <a:spLocks noEditPoints="1"/>
          </p:cNvSpPr>
          <p:nvPr/>
        </p:nvSpPr>
        <p:spPr bwMode="black">
          <a:xfrm>
            <a:off x="1134141" y="2402069"/>
            <a:ext cx="678586" cy="659196"/>
          </a:xfrm>
          <a:custGeom>
            <a:avLst/>
            <a:gdLst>
              <a:gd name="T0" fmla="*/ 0 w 708"/>
              <a:gd name="T1" fmla="*/ 709 h 709"/>
              <a:gd name="T2" fmla="*/ 212 w 708"/>
              <a:gd name="T3" fmla="*/ 567 h 709"/>
              <a:gd name="T4" fmla="*/ 708 w 708"/>
              <a:gd name="T5" fmla="*/ 567 h 709"/>
              <a:gd name="T6" fmla="*/ 496 w 708"/>
              <a:gd name="T7" fmla="*/ 709 h 709"/>
              <a:gd name="T8" fmla="*/ 708 w 708"/>
              <a:gd name="T9" fmla="*/ 567 h 709"/>
              <a:gd name="T10" fmla="*/ 248 w 708"/>
              <a:gd name="T11" fmla="*/ 567 h 709"/>
              <a:gd name="T12" fmla="*/ 460 w 708"/>
              <a:gd name="T13" fmla="*/ 709 h 709"/>
              <a:gd name="T14" fmla="*/ 212 w 708"/>
              <a:gd name="T15" fmla="*/ 227 h 709"/>
              <a:gd name="T16" fmla="*/ 0 w 708"/>
              <a:gd name="T17" fmla="*/ 369 h 709"/>
              <a:gd name="T18" fmla="*/ 212 w 708"/>
              <a:gd name="T19" fmla="*/ 227 h 709"/>
              <a:gd name="T20" fmla="*/ 496 w 708"/>
              <a:gd name="T21" fmla="*/ 14 h 709"/>
              <a:gd name="T22" fmla="*/ 708 w 708"/>
              <a:gd name="T23" fmla="*/ 156 h 709"/>
              <a:gd name="T24" fmla="*/ 460 w 708"/>
              <a:gd name="T25" fmla="*/ 156 h 709"/>
              <a:gd name="T26" fmla="*/ 248 w 708"/>
              <a:gd name="T27" fmla="*/ 298 h 709"/>
              <a:gd name="T28" fmla="*/ 460 w 708"/>
              <a:gd name="T29" fmla="*/ 156 h 709"/>
              <a:gd name="T30" fmla="*/ 127 w 708"/>
              <a:gd name="T31" fmla="*/ 397 h 709"/>
              <a:gd name="T32" fmla="*/ 340 w 708"/>
              <a:gd name="T33" fmla="*/ 539 h 709"/>
              <a:gd name="T34" fmla="*/ 97 w 708"/>
              <a:gd name="T35" fmla="*/ 397 h 709"/>
              <a:gd name="T36" fmla="*/ 0 w 708"/>
              <a:gd name="T37" fmla="*/ 539 h 709"/>
              <a:gd name="T38" fmla="*/ 97 w 708"/>
              <a:gd name="T39" fmla="*/ 397 h 709"/>
              <a:gd name="T40" fmla="*/ 0 w 708"/>
              <a:gd name="T41" fmla="*/ 57 h 709"/>
              <a:gd name="T42" fmla="*/ 97 w 708"/>
              <a:gd name="T43" fmla="*/ 199 h 709"/>
              <a:gd name="T44" fmla="*/ 583 w 708"/>
              <a:gd name="T45" fmla="*/ 397 h 709"/>
              <a:gd name="T46" fmla="*/ 371 w 708"/>
              <a:gd name="T47" fmla="*/ 539 h 709"/>
              <a:gd name="T48" fmla="*/ 583 w 708"/>
              <a:gd name="T49" fmla="*/ 397 h 709"/>
              <a:gd name="T50" fmla="*/ 614 w 708"/>
              <a:gd name="T51" fmla="*/ 397 h 709"/>
              <a:gd name="T52" fmla="*/ 708 w 708"/>
              <a:gd name="T53" fmla="*/ 539 h 709"/>
              <a:gd name="T54" fmla="*/ 354 w 708"/>
              <a:gd name="T55" fmla="*/ 132 h 709"/>
              <a:gd name="T56" fmla="*/ 392 w 708"/>
              <a:gd name="T57" fmla="*/ 47 h 709"/>
              <a:gd name="T58" fmla="*/ 316 w 708"/>
              <a:gd name="T59" fmla="*/ 0 h 709"/>
              <a:gd name="T60" fmla="*/ 269 w 708"/>
              <a:gd name="T61" fmla="*/ 47 h 709"/>
              <a:gd name="T62" fmla="*/ 602 w 708"/>
              <a:gd name="T63" fmla="*/ 343 h 709"/>
              <a:gd name="T64" fmla="*/ 640 w 708"/>
              <a:gd name="T65" fmla="*/ 258 h 709"/>
              <a:gd name="T66" fmla="*/ 564 w 708"/>
              <a:gd name="T67" fmla="*/ 210 h 709"/>
              <a:gd name="T68" fmla="*/ 517 w 708"/>
              <a:gd name="T69" fmla="*/ 25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08" h="709">
                <a:moveTo>
                  <a:pt x="212" y="709"/>
                </a:moveTo>
                <a:lnTo>
                  <a:pt x="0" y="709"/>
                </a:lnTo>
                <a:lnTo>
                  <a:pt x="0" y="567"/>
                </a:lnTo>
                <a:lnTo>
                  <a:pt x="212" y="567"/>
                </a:lnTo>
                <a:lnTo>
                  <a:pt x="212" y="709"/>
                </a:lnTo>
                <a:close/>
                <a:moveTo>
                  <a:pt x="708" y="567"/>
                </a:moveTo>
                <a:lnTo>
                  <a:pt x="496" y="567"/>
                </a:lnTo>
                <a:lnTo>
                  <a:pt x="496" y="709"/>
                </a:lnTo>
                <a:lnTo>
                  <a:pt x="708" y="709"/>
                </a:lnTo>
                <a:lnTo>
                  <a:pt x="708" y="567"/>
                </a:lnTo>
                <a:close/>
                <a:moveTo>
                  <a:pt x="460" y="567"/>
                </a:moveTo>
                <a:lnTo>
                  <a:pt x="248" y="567"/>
                </a:lnTo>
                <a:lnTo>
                  <a:pt x="248" y="709"/>
                </a:lnTo>
                <a:lnTo>
                  <a:pt x="460" y="709"/>
                </a:lnTo>
                <a:lnTo>
                  <a:pt x="460" y="567"/>
                </a:lnTo>
                <a:close/>
                <a:moveTo>
                  <a:pt x="212" y="227"/>
                </a:moveTo>
                <a:lnTo>
                  <a:pt x="0" y="227"/>
                </a:lnTo>
                <a:lnTo>
                  <a:pt x="0" y="369"/>
                </a:lnTo>
                <a:lnTo>
                  <a:pt x="212" y="369"/>
                </a:lnTo>
                <a:lnTo>
                  <a:pt x="212" y="227"/>
                </a:lnTo>
                <a:close/>
                <a:moveTo>
                  <a:pt x="708" y="14"/>
                </a:moveTo>
                <a:lnTo>
                  <a:pt x="496" y="14"/>
                </a:lnTo>
                <a:lnTo>
                  <a:pt x="496" y="156"/>
                </a:lnTo>
                <a:lnTo>
                  <a:pt x="708" y="156"/>
                </a:lnTo>
                <a:lnTo>
                  <a:pt x="708" y="14"/>
                </a:lnTo>
                <a:close/>
                <a:moveTo>
                  <a:pt x="460" y="156"/>
                </a:moveTo>
                <a:lnTo>
                  <a:pt x="248" y="156"/>
                </a:lnTo>
                <a:lnTo>
                  <a:pt x="248" y="298"/>
                </a:lnTo>
                <a:lnTo>
                  <a:pt x="460" y="298"/>
                </a:lnTo>
                <a:lnTo>
                  <a:pt x="460" y="156"/>
                </a:lnTo>
                <a:close/>
                <a:moveTo>
                  <a:pt x="340" y="397"/>
                </a:moveTo>
                <a:lnTo>
                  <a:pt x="127" y="397"/>
                </a:lnTo>
                <a:lnTo>
                  <a:pt x="127" y="539"/>
                </a:lnTo>
                <a:lnTo>
                  <a:pt x="340" y="539"/>
                </a:lnTo>
                <a:lnTo>
                  <a:pt x="340" y="397"/>
                </a:lnTo>
                <a:close/>
                <a:moveTo>
                  <a:pt x="97" y="397"/>
                </a:moveTo>
                <a:lnTo>
                  <a:pt x="0" y="397"/>
                </a:lnTo>
                <a:lnTo>
                  <a:pt x="0" y="539"/>
                </a:lnTo>
                <a:lnTo>
                  <a:pt x="97" y="539"/>
                </a:lnTo>
                <a:lnTo>
                  <a:pt x="97" y="397"/>
                </a:lnTo>
                <a:close/>
                <a:moveTo>
                  <a:pt x="97" y="57"/>
                </a:moveTo>
                <a:lnTo>
                  <a:pt x="0" y="57"/>
                </a:lnTo>
                <a:lnTo>
                  <a:pt x="0" y="199"/>
                </a:lnTo>
                <a:lnTo>
                  <a:pt x="97" y="199"/>
                </a:lnTo>
                <a:lnTo>
                  <a:pt x="97" y="57"/>
                </a:lnTo>
                <a:close/>
                <a:moveTo>
                  <a:pt x="583" y="397"/>
                </a:moveTo>
                <a:lnTo>
                  <a:pt x="371" y="397"/>
                </a:lnTo>
                <a:lnTo>
                  <a:pt x="371" y="539"/>
                </a:lnTo>
                <a:lnTo>
                  <a:pt x="583" y="539"/>
                </a:lnTo>
                <a:lnTo>
                  <a:pt x="583" y="397"/>
                </a:lnTo>
                <a:close/>
                <a:moveTo>
                  <a:pt x="708" y="397"/>
                </a:moveTo>
                <a:lnTo>
                  <a:pt x="614" y="397"/>
                </a:lnTo>
                <a:lnTo>
                  <a:pt x="614" y="539"/>
                </a:lnTo>
                <a:lnTo>
                  <a:pt x="708" y="539"/>
                </a:lnTo>
                <a:lnTo>
                  <a:pt x="708" y="397"/>
                </a:lnTo>
                <a:close/>
                <a:moveTo>
                  <a:pt x="354" y="132"/>
                </a:moveTo>
                <a:lnTo>
                  <a:pt x="439" y="47"/>
                </a:lnTo>
                <a:lnTo>
                  <a:pt x="392" y="47"/>
                </a:lnTo>
                <a:lnTo>
                  <a:pt x="392" y="0"/>
                </a:lnTo>
                <a:lnTo>
                  <a:pt x="316" y="0"/>
                </a:lnTo>
                <a:lnTo>
                  <a:pt x="316" y="47"/>
                </a:lnTo>
                <a:lnTo>
                  <a:pt x="269" y="47"/>
                </a:lnTo>
                <a:lnTo>
                  <a:pt x="354" y="132"/>
                </a:lnTo>
                <a:close/>
                <a:moveTo>
                  <a:pt x="602" y="343"/>
                </a:moveTo>
                <a:lnTo>
                  <a:pt x="687" y="258"/>
                </a:lnTo>
                <a:lnTo>
                  <a:pt x="640" y="258"/>
                </a:lnTo>
                <a:lnTo>
                  <a:pt x="640" y="210"/>
                </a:lnTo>
                <a:lnTo>
                  <a:pt x="564" y="210"/>
                </a:lnTo>
                <a:lnTo>
                  <a:pt x="564" y="258"/>
                </a:lnTo>
                <a:lnTo>
                  <a:pt x="517" y="258"/>
                </a:lnTo>
                <a:lnTo>
                  <a:pt x="602" y="3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pPr defTabSz="685862"/>
            <a:endParaRPr lang="en-US" sz="1200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106" name="Picture 6"/>
          <p:cNvPicPr>
            <a:picLocks noChangeAspect="1" noChangeArrowheads="1"/>
          </p:cNvPicPr>
          <p:nvPr/>
        </p:nvPicPr>
        <p:blipFill>
          <a:blip r:embed="rId17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67194" y="2460498"/>
            <a:ext cx="588501" cy="671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92055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8" grpId="0" animBg="1"/>
      <p:bldP spid="62" grpId="0" animBg="1"/>
      <p:bldP spid="70" grpId="0" animBg="1"/>
      <p:bldP spid="7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53" name="Rectangle 2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826268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以基本面、技术面和信息面数据为基础，人工输入构建选股和交易策略。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zh-CN" altLang="en-US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参考优矿、聚宽、米筐等公开量化研究平台的</a:t>
            </a: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notebook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的策略研究功能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55" name="Rectangle 31"/>
          <p:cNvSpPr/>
          <p:nvPr>
            <p:custDataLst>
              <p:tags r:id="rId2"/>
            </p:custDataLst>
          </p:nvPr>
        </p:nvSpPr>
        <p:spPr bwMode="auto">
          <a:xfrm>
            <a:off x="3826268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2.1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人工构建策略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409303" y="1175040"/>
            <a:ext cx="10759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R2.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 投资策略构建需求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70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233387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以人工智能机器学习的输出结果，自动构建策略，并进行历史回测和未来模拟交易，得出结果，做回归迭代，不断优化策略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72" name="Rectangle 31"/>
          <p:cNvSpPr/>
          <p:nvPr>
            <p:custDataLst>
              <p:tags r:id="rId4"/>
            </p:custDataLst>
          </p:nvPr>
        </p:nvSpPr>
        <p:spPr bwMode="auto">
          <a:xfrm>
            <a:off x="6233387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2.2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</a:t>
            </a: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AI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构建策略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pic>
        <p:nvPicPr>
          <p:cNvPr id="29" name="Picture 5" descr="\\MAGNUM\Projects\Microsoft\Cloud Power FY12\Design\Icons\PNGs\Self_Servic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4313147" y="2332177"/>
            <a:ext cx="959031" cy="915101"/>
          </a:xfrm>
          <a:prstGeom prst="rect">
            <a:avLst/>
          </a:prstGeom>
          <a:noFill/>
        </p:spPr>
      </p:pic>
      <p:grpSp>
        <p:nvGrpSpPr>
          <p:cNvPr id="40" name="Group 416"/>
          <p:cNvGrpSpPr>
            <a:grpSpLocks noChangeAspect="1"/>
          </p:cNvGrpSpPr>
          <p:nvPr/>
        </p:nvGrpSpPr>
        <p:grpSpPr>
          <a:xfrm>
            <a:off x="6940592" y="2443446"/>
            <a:ext cx="505829" cy="651057"/>
            <a:chOff x="-2773363" y="1651000"/>
            <a:chExt cx="2692401" cy="3448051"/>
          </a:xfrm>
          <a:solidFill>
            <a:srgbClr val="363535"/>
          </a:solidFill>
        </p:grpSpPr>
        <p:sp>
          <p:nvSpPr>
            <p:cNvPr id="41" name="Freeform 19"/>
            <p:cNvSpPr>
              <a:spLocks noEditPoints="1"/>
            </p:cNvSpPr>
            <p:nvPr/>
          </p:nvSpPr>
          <p:spPr bwMode="auto">
            <a:xfrm>
              <a:off x="-1908175" y="1798638"/>
              <a:ext cx="641350" cy="641350"/>
            </a:xfrm>
            <a:custGeom>
              <a:avLst/>
              <a:gdLst>
                <a:gd name="T0" fmla="*/ 171 w 171"/>
                <a:gd name="T1" fmla="*/ 79 h 171"/>
                <a:gd name="T2" fmla="*/ 168 w 171"/>
                <a:gd name="T3" fmla="*/ 77 h 171"/>
                <a:gd name="T4" fmla="*/ 152 w 171"/>
                <a:gd name="T5" fmla="*/ 65 h 171"/>
                <a:gd name="T6" fmla="*/ 165 w 171"/>
                <a:gd name="T7" fmla="*/ 54 h 171"/>
                <a:gd name="T8" fmla="*/ 161 w 171"/>
                <a:gd name="T9" fmla="*/ 52 h 171"/>
                <a:gd name="T10" fmla="*/ 142 w 171"/>
                <a:gd name="T11" fmla="*/ 45 h 171"/>
                <a:gd name="T12" fmla="*/ 152 w 171"/>
                <a:gd name="T13" fmla="*/ 32 h 171"/>
                <a:gd name="T14" fmla="*/ 147 w 171"/>
                <a:gd name="T15" fmla="*/ 30 h 171"/>
                <a:gd name="T16" fmla="*/ 127 w 171"/>
                <a:gd name="T17" fmla="*/ 30 h 171"/>
                <a:gd name="T18" fmla="*/ 132 w 171"/>
                <a:gd name="T19" fmla="*/ 15 h 171"/>
                <a:gd name="T20" fmla="*/ 127 w 171"/>
                <a:gd name="T21" fmla="*/ 14 h 171"/>
                <a:gd name="T22" fmla="*/ 108 w 171"/>
                <a:gd name="T23" fmla="*/ 20 h 171"/>
                <a:gd name="T24" fmla="*/ 108 w 171"/>
                <a:gd name="T25" fmla="*/ 5 h 171"/>
                <a:gd name="T26" fmla="*/ 103 w 171"/>
                <a:gd name="T27" fmla="*/ 4 h 171"/>
                <a:gd name="T28" fmla="*/ 86 w 171"/>
                <a:gd name="T29" fmla="*/ 16 h 171"/>
                <a:gd name="T30" fmla="*/ 79 w 171"/>
                <a:gd name="T31" fmla="*/ 0 h 171"/>
                <a:gd name="T32" fmla="*/ 77 w 171"/>
                <a:gd name="T33" fmla="*/ 3 h 171"/>
                <a:gd name="T34" fmla="*/ 65 w 171"/>
                <a:gd name="T35" fmla="*/ 19 h 171"/>
                <a:gd name="T36" fmla="*/ 53 w 171"/>
                <a:gd name="T37" fmla="*/ 6 h 171"/>
                <a:gd name="T38" fmla="*/ 52 w 171"/>
                <a:gd name="T39" fmla="*/ 10 h 171"/>
                <a:gd name="T40" fmla="*/ 45 w 171"/>
                <a:gd name="T41" fmla="*/ 29 h 171"/>
                <a:gd name="T42" fmla="*/ 30 w 171"/>
                <a:gd name="T43" fmla="*/ 20 h 171"/>
                <a:gd name="T44" fmla="*/ 30 w 171"/>
                <a:gd name="T45" fmla="*/ 24 h 171"/>
                <a:gd name="T46" fmla="*/ 30 w 171"/>
                <a:gd name="T47" fmla="*/ 44 h 171"/>
                <a:gd name="T48" fmla="*/ 13 w 171"/>
                <a:gd name="T49" fmla="*/ 40 h 171"/>
                <a:gd name="T50" fmla="*/ 14 w 171"/>
                <a:gd name="T51" fmla="*/ 44 h 171"/>
                <a:gd name="T52" fmla="*/ 20 w 171"/>
                <a:gd name="T53" fmla="*/ 63 h 171"/>
                <a:gd name="T54" fmla="*/ 2 w 171"/>
                <a:gd name="T55" fmla="*/ 65 h 171"/>
                <a:gd name="T56" fmla="*/ 4 w 171"/>
                <a:gd name="T57" fmla="*/ 68 h 171"/>
                <a:gd name="T58" fmla="*/ 16 w 171"/>
                <a:gd name="T59" fmla="*/ 84 h 171"/>
                <a:gd name="T60" fmla="*/ 0 w 171"/>
                <a:gd name="T61" fmla="*/ 91 h 171"/>
                <a:gd name="T62" fmla="*/ 3 w 171"/>
                <a:gd name="T63" fmla="*/ 94 h 171"/>
                <a:gd name="T64" fmla="*/ 19 w 171"/>
                <a:gd name="T65" fmla="*/ 106 h 171"/>
                <a:gd name="T66" fmla="*/ 6 w 171"/>
                <a:gd name="T67" fmla="*/ 116 h 171"/>
                <a:gd name="T68" fmla="*/ 10 w 171"/>
                <a:gd name="T69" fmla="*/ 119 h 171"/>
                <a:gd name="T70" fmla="*/ 29 w 171"/>
                <a:gd name="T71" fmla="*/ 125 h 171"/>
                <a:gd name="T72" fmla="*/ 19 w 171"/>
                <a:gd name="T73" fmla="*/ 139 h 171"/>
                <a:gd name="T74" fmla="*/ 24 w 171"/>
                <a:gd name="T75" fmla="*/ 141 h 171"/>
                <a:gd name="T76" fmla="*/ 44 w 171"/>
                <a:gd name="T77" fmla="*/ 141 h 171"/>
                <a:gd name="T78" fmla="*/ 39 w 171"/>
                <a:gd name="T79" fmla="*/ 156 h 171"/>
                <a:gd name="T80" fmla="*/ 44 w 171"/>
                <a:gd name="T81" fmla="*/ 157 h 171"/>
                <a:gd name="T82" fmla="*/ 63 w 171"/>
                <a:gd name="T83" fmla="*/ 151 h 171"/>
                <a:gd name="T84" fmla="*/ 63 w 171"/>
                <a:gd name="T85" fmla="*/ 166 h 171"/>
                <a:gd name="T86" fmla="*/ 68 w 171"/>
                <a:gd name="T87" fmla="*/ 166 h 171"/>
                <a:gd name="T88" fmla="*/ 85 w 171"/>
                <a:gd name="T89" fmla="*/ 155 h 171"/>
                <a:gd name="T90" fmla="*/ 91 w 171"/>
                <a:gd name="T91" fmla="*/ 171 h 171"/>
                <a:gd name="T92" fmla="*/ 94 w 171"/>
                <a:gd name="T93" fmla="*/ 168 h 171"/>
                <a:gd name="T94" fmla="*/ 96 w 171"/>
                <a:gd name="T95" fmla="*/ 154 h 171"/>
                <a:gd name="T96" fmla="*/ 114 w 171"/>
                <a:gd name="T97" fmla="*/ 163 h 171"/>
                <a:gd name="T98" fmla="*/ 119 w 171"/>
                <a:gd name="T99" fmla="*/ 162 h 171"/>
                <a:gd name="T100" fmla="*/ 117 w 171"/>
                <a:gd name="T101" fmla="*/ 147 h 171"/>
                <a:gd name="T102" fmla="*/ 137 w 171"/>
                <a:gd name="T103" fmla="*/ 150 h 171"/>
                <a:gd name="T104" fmla="*/ 142 w 171"/>
                <a:gd name="T105" fmla="*/ 149 h 171"/>
                <a:gd name="T106" fmla="*/ 135 w 171"/>
                <a:gd name="T107" fmla="*/ 134 h 171"/>
                <a:gd name="T108" fmla="*/ 154 w 171"/>
                <a:gd name="T109" fmla="*/ 131 h 171"/>
                <a:gd name="T110" fmla="*/ 159 w 171"/>
                <a:gd name="T111" fmla="*/ 129 h 171"/>
                <a:gd name="T112" fmla="*/ 147 w 171"/>
                <a:gd name="T113" fmla="*/ 117 h 171"/>
                <a:gd name="T114" fmla="*/ 165 w 171"/>
                <a:gd name="T115" fmla="*/ 108 h 171"/>
                <a:gd name="T116" fmla="*/ 169 w 171"/>
                <a:gd name="T117" fmla="*/ 105 h 171"/>
                <a:gd name="T118" fmla="*/ 154 w 171"/>
                <a:gd name="T119" fmla="*/ 96 h 171"/>
                <a:gd name="T120" fmla="*/ 168 w 171"/>
                <a:gd name="T121" fmla="*/ 82 h 171"/>
                <a:gd name="T122" fmla="*/ 70 w 171"/>
                <a:gd name="T123" fmla="*/ 85 h 171"/>
                <a:gd name="T124" fmla="*/ 101 w 171"/>
                <a:gd name="T125" fmla="*/ 8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" h="171">
                  <a:moveTo>
                    <a:pt x="168" y="82"/>
                  </a:moveTo>
                  <a:cubicBezTo>
                    <a:pt x="170" y="82"/>
                    <a:pt x="171" y="81"/>
                    <a:pt x="171" y="79"/>
                  </a:cubicBezTo>
                  <a:cubicBezTo>
                    <a:pt x="171" y="79"/>
                    <a:pt x="171" y="79"/>
                    <a:pt x="171" y="79"/>
                  </a:cubicBezTo>
                  <a:cubicBezTo>
                    <a:pt x="171" y="78"/>
                    <a:pt x="169" y="77"/>
                    <a:pt x="168" y="77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54" y="71"/>
                    <a:pt x="153" y="68"/>
                    <a:pt x="152" y="65"/>
                  </a:cubicBezTo>
                  <a:cubicBezTo>
                    <a:pt x="163" y="57"/>
                    <a:pt x="163" y="57"/>
                    <a:pt x="163" y="57"/>
                  </a:cubicBezTo>
                  <a:cubicBezTo>
                    <a:pt x="164" y="56"/>
                    <a:pt x="165" y="55"/>
                    <a:pt x="165" y="54"/>
                  </a:cubicBezTo>
                  <a:cubicBezTo>
                    <a:pt x="165" y="54"/>
                    <a:pt x="165" y="53"/>
                    <a:pt x="165" y="53"/>
                  </a:cubicBezTo>
                  <a:cubicBezTo>
                    <a:pt x="164" y="52"/>
                    <a:pt x="163" y="51"/>
                    <a:pt x="161" y="52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6" y="51"/>
                    <a:pt x="144" y="48"/>
                    <a:pt x="142" y="45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4"/>
                    <a:pt x="152" y="33"/>
                    <a:pt x="152" y="32"/>
                  </a:cubicBezTo>
                  <a:cubicBezTo>
                    <a:pt x="152" y="31"/>
                    <a:pt x="151" y="31"/>
                    <a:pt x="151" y="30"/>
                  </a:cubicBezTo>
                  <a:cubicBezTo>
                    <a:pt x="150" y="29"/>
                    <a:pt x="148" y="29"/>
                    <a:pt x="147" y="30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2" y="34"/>
                    <a:pt x="130" y="32"/>
                    <a:pt x="127" y="30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5"/>
                  </a:cubicBezTo>
                  <a:cubicBezTo>
                    <a:pt x="132" y="14"/>
                    <a:pt x="132" y="13"/>
                    <a:pt x="131" y="13"/>
                  </a:cubicBezTo>
                  <a:cubicBezTo>
                    <a:pt x="129" y="12"/>
                    <a:pt x="128" y="12"/>
                    <a:pt x="127" y="14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4" y="22"/>
                    <a:pt x="111" y="21"/>
                    <a:pt x="108" y="20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4"/>
                    <a:pt x="107" y="3"/>
                    <a:pt x="106" y="2"/>
                  </a:cubicBezTo>
                  <a:cubicBezTo>
                    <a:pt x="105" y="2"/>
                    <a:pt x="103" y="3"/>
                    <a:pt x="103" y="4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3" y="16"/>
                    <a:pt x="90" y="16"/>
                    <a:pt x="86" y="16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1"/>
                    <a:pt x="81" y="0"/>
                    <a:pt x="79" y="0"/>
                  </a:cubicBezTo>
                  <a:cubicBezTo>
                    <a:pt x="78" y="0"/>
                    <a:pt x="77" y="1"/>
                    <a:pt x="77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1" y="17"/>
                    <a:pt x="68" y="18"/>
                    <a:pt x="65" y="19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6" y="6"/>
                    <a:pt x="55" y="5"/>
                    <a:pt x="53" y="6"/>
                  </a:cubicBezTo>
                  <a:cubicBezTo>
                    <a:pt x="52" y="6"/>
                    <a:pt x="52" y="7"/>
                    <a:pt x="52" y="9"/>
                  </a:cubicBezTo>
                  <a:cubicBezTo>
                    <a:pt x="52" y="9"/>
                    <a:pt x="52" y="9"/>
                    <a:pt x="52" y="10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1" y="25"/>
                    <a:pt x="48" y="27"/>
                    <a:pt x="45" y="2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3" y="19"/>
                    <a:pt x="32" y="19"/>
                    <a:pt x="30" y="20"/>
                  </a:cubicBezTo>
                  <a:cubicBezTo>
                    <a:pt x="30" y="20"/>
                    <a:pt x="29" y="21"/>
                    <a:pt x="29" y="22"/>
                  </a:cubicBezTo>
                  <a:cubicBezTo>
                    <a:pt x="29" y="23"/>
                    <a:pt x="30" y="23"/>
                    <a:pt x="30" y="24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4" y="39"/>
                    <a:pt x="32" y="41"/>
                    <a:pt x="30" y="44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5" y="38"/>
                    <a:pt x="14" y="39"/>
                    <a:pt x="13" y="40"/>
                  </a:cubicBezTo>
                  <a:cubicBezTo>
                    <a:pt x="13" y="41"/>
                    <a:pt x="12" y="41"/>
                    <a:pt x="12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2" y="57"/>
                    <a:pt x="21" y="60"/>
                    <a:pt x="20" y="63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4" y="62"/>
                    <a:pt x="3" y="63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7"/>
                    <a:pt x="3" y="68"/>
                    <a:pt x="4" y="68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8"/>
                    <a:pt x="16" y="81"/>
                    <a:pt x="16" y="84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1" y="89"/>
                    <a:pt x="0" y="90"/>
                    <a:pt x="0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3"/>
                    <a:pt x="2" y="94"/>
                    <a:pt x="3" y="94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9"/>
                    <a:pt x="18" y="103"/>
                    <a:pt x="19" y="106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7" y="114"/>
                    <a:pt x="6" y="115"/>
                    <a:pt x="6" y="116"/>
                  </a:cubicBezTo>
                  <a:cubicBezTo>
                    <a:pt x="6" y="117"/>
                    <a:pt x="6" y="117"/>
                    <a:pt x="6" y="118"/>
                  </a:cubicBezTo>
                  <a:cubicBezTo>
                    <a:pt x="7" y="119"/>
                    <a:pt x="8" y="120"/>
                    <a:pt x="10" y="119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25" y="120"/>
                    <a:pt x="27" y="123"/>
                    <a:pt x="29" y="125"/>
                  </a:cubicBezTo>
                  <a:cubicBezTo>
                    <a:pt x="20" y="137"/>
                    <a:pt x="20" y="137"/>
                    <a:pt x="20" y="137"/>
                  </a:cubicBezTo>
                  <a:cubicBezTo>
                    <a:pt x="20" y="137"/>
                    <a:pt x="19" y="138"/>
                    <a:pt x="19" y="139"/>
                  </a:cubicBezTo>
                  <a:cubicBezTo>
                    <a:pt x="19" y="139"/>
                    <a:pt x="20" y="140"/>
                    <a:pt x="20" y="140"/>
                  </a:cubicBezTo>
                  <a:cubicBezTo>
                    <a:pt x="21" y="142"/>
                    <a:pt x="23" y="142"/>
                    <a:pt x="24" y="141"/>
                  </a:cubicBezTo>
                  <a:cubicBezTo>
                    <a:pt x="36" y="134"/>
                    <a:pt x="36" y="134"/>
                    <a:pt x="36" y="134"/>
                  </a:cubicBezTo>
                  <a:cubicBezTo>
                    <a:pt x="39" y="137"/>
                    <a:pt x="41" y="139"/>
                    <a:pt x="44" y="141"/>
                  </a:cubicBezTo>
                  <a:cubicBezTo>
                    <a:pt x="39" y="154"/>
                    <a:pt x="39" y="154"/>
                    <a:pt x="39" y="154"/>
                  </a:cubicBezTo>
                  <a:cubicBezTo>
                    <a:pt x="39" y="155"/>
                    <a:pt x="39" y="155"/>
                    <a:pt x="39" y="156"/>
                  </a:cubicBezTo>
                  <a:cubicBezTo>
                    <a:pt x="39" y="157"/>
                    <a:pt x="39" y="157"/>
                    <a:pt x="40" y="158"/>
                  </a:cubicBezTo>
                  <a:cubicBezTo>
                    <a:pt x="42" y="159"/>
                    <a:pt x="43" y="158"/>
                    <a:pt x="44" y="157"/>
                  </a:cubicBezTo>
                  <a:cubicBezTo>
                    <a:pt x="54" y="147"/>
                    <a:pt x="54" y="147"/>
                    <a:pt x="54" y="147"/>
                  </a:cubicBezTo>
                  <a:cubicBezTo>
                    <a:pt x="57" y="149"/>
                    <a:pt x="60" y="150"/>
                    <a:pt x="63" y="151"/>
                  </a:cubicBezTo>
                  <a:cubicBezTo>
                    <a:pt x="63" y="165"/>
                    <a:pt x="63" y="165"/>
                    <a:pt x="63" y="165"/>
                  </a:cubicBezTo>
                  <a:cubicBezTo>
                    <a:pt x="63" y="165"/>
                    <a:pt x="63" y="166"/>
                    <a:pt x="63" y="166"/>
                  </a:cubicBezTo>
                  <a:cubicBezTo>
                    <a:pt x="63" y="167"/>
                    <a:pt x="64" y="168"/>
                    <a:pt x="65" y="168"/>
                  </a:cubicBezTo>
                  <a:cubicBezTo>
                    <a:pt x="66" y="169"/>
                    <a:pt x="68" y="168"/>
                    <a:pt x="68" y="16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8" y="154"/>
                    <a:pt x="81" y="155"/>
                    <a:pt x="85" y="155"/>
                  </a:cubicBezTo>
                  <a:cubicBezTo>
                    <a:pt x="89" y="168"/>
                    <a:pt x="89" y="168"/>
                    <a:pt x="89" y="168"/>
                  </a:cubicBezTo>
                  <a:cubicBezTo>
                    <a:pt x="89" y="170"/>
                    <a:pt x="90" y="171"/>
                    <a:pt x="91" y="171"/>
                  </a:cubicBezTo>
                  <a:cubicBezTo>
                    <a:pt x="91" y="171"/>
                    <a:pt x="92" y="171"/>
                    <a:pt x="92" y="171"/>
                  </a:cubicBezTo>
                  <a:cubicBezTo>
                    <a:pt x="93" y="171"/>
                    <a:pt x="94" y="169"/>
                    <a:pt x="94" y="168"/>
                  </a:cubicBezTo>
                  <a:cubicBezTo>
                    <a:pt x="94" y="168"/>
                    <a:pt x="94" y="168"/>
                    <a:pt x="94" y="168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100" y="153"/>
                    <a:pt x="103" y="153"/>
                    <a:pt x="106" y="152"/>
                  </a:cubicBezTo>
                  <a:cubicBezTo>
                    <a:pt x="114" y="163"/>
                    <a:pt x="114" y="163"/>
                    <a:pt x="114" y="163"/>
                  </a:cubicBezTo>
                  <a:cubicBezTo>
                    <a:pt x="115" y="165"/>
                    <a:pt x="116" y="165"/>
                    <a:pt x="118" y="165"/>
                  </a:cubicBezTo>
                  <a:cubicBezTo>
                    <a:pt x="119" y="164"/>
                    <a:pt x="119" y="163"/>
                    <a:pt x="119" y="162"/>
                  </a:cubicBezTo>
                  <a:cubicBezTo>
                    <a:pt x="119" y="162"/>
                    <a:pt x="119" y="161"/>
                    <a:pt x="119" y="161"/>
                  </a:cubicBezTo>
                  <a:cubicBezTo>
                    <a:pt x="117" y="147"/>
                    <a:pt x="117" y="147"/>
                    <a:pt x="117" y="147"/>
                  </a:cubicBezTo>
                  <a:cubicBezTo>
                    <a:pt x="120" y="146"/>
                    <a:pt x="123" y="144"/>
                    <a:pt x="126" y="142"/>
                  </a:cubicBezTo>
                  <a:cubicBezTo>
                    <a:pt x="137" y="150"/>
                    <a:pt x="137" y="150"/>
                    <a:pt x="137" y="150"/>
                  </a:cubicBezTo>
                  <a:cubicBezTo>
                    <a:pt x="138" y="152"/>
                    <a:pt x="139" y="152"/>
                    <a:pt x="141" y="151"/>
                  </a:cubicBezTo>
                  <a:cubicBezTo>
                    <a:pt x="141" y="150"/>
                    <a:pt x="142" y="149"/>
                    <a:pt x="142" y="149"/>
                  </a:cubicBezTo>
                  <a:cubicBezTo>
                    <a:pt x="142" y="148"/>
                    <a:pt x="141" y="147"/>
                    <a:pt x="141" y="147"/>
                  </a:cubicBezTo>
                  <a:cubicBezTo>
                    <a:pt x="135" y="134"/>
                    <a:pt x="135" y="134"/>
                    <a:pt x="135" y="134"/>
                  </a:cubicBezTo>
                  <a:cubicBezTo>
                    <a:pt x="137" y="132"/>
                    <a:pt x="139" y="130"/>
                    <a:pt x="141" y="127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6" y="132"/>
                    <a:pt x="157" y="132"/>
                    <a:pt x="158" y="131"/>
                  </a:cubicBezTo>
                  <a:cubicBezTo>
                    <a:pt x="158" y="130"/>
                    <a:pt x="159" y="130"/>
                    <a:pt x="159" y="129"/>
                  </a:cubicBezTo>
                  <a:cubicBezTo>
                    <a:pt x="159" y="128"/>
                    <a:pt x="158" y="127"/>
                    <a:pt x="157" y="127"/>
                  </a:cubicBezTo>
                  <a:cubicBezTo>
                    <a:pt x="147" y="117"/>
                    <a:pt x="147" y="117"/>
                    <a:pt x="147" y="117"/>
                  </a:cubicBezTo>
                  <a:cubicBezTo>
                    <a:pt x="149" y="114"/>
                    <a:pt x="150" y="111"/>
                    <a:pt x="151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7" y="108"/>
                    <a:pt x="168" y="107"/>
                    <a:pt x="169" y="106"/>
                  </a:cubicBezTo>
                  <a:cubicBezTo>
                    <a:pt x="169" y="106"/>
                    <a:pt x="169" y="105"/>
                    <a:pt x="169" y="105"/>
                  </a:cubicBezTo>
                  <a:cubicBezTo>
                    <a:pt x="169" y="104"/>
                    <a:pt x="168" y="103"/>
                    <a:pt x="167" y="103"/>
                  </a:cubicBezTo>
                  <a:cubicBezTo>
                    <a:pt x="154" y="96"/>
                    <a:pt x="154" y="96"/>
                    <a:pt x="154" y="96"/>
                  </a:cubicBezTo>
                  <a:cubicBezTo>
                    <a:pt x="155" y="93"/>
                    <a:pt x="155" y="90"/>
                    <a:pt x="155" y="86"/>
                  </a:cubicBezTo>
                  <a:lnTo>
                    <a:pt x="168" y="82"/>
                  </a:lnTo>
                  <a:close/>
                  <a:moveTo>
                    <a:pt x="86" y="101"/>
                  </a:moveTo>
                  <a:cubicBezTo>
                    <a:pt x="77" y="101"/>
                    <a:pt x="70" y="94"/>
                    <a:pt x="70" y="85"/>
                  </a:cubicBezTo>
                  <a:cubicBezTo>
                    <a:pt x="70" y="77"/>
                    <a:pt x="77" y="70"/>
                    <a:pt x="86" y="70"/>
                  </a:cubicBezTo>
                  <a:cubicBezTo>
                    <a:pt x="94" y="70"/>
                    <a:pt x="101" y="77"/>
                    <a:pt x="101" y="85"/>
                  </a:cubicBezTo>
                  <a:cubicBezTo>
                    <a:pt x="101" y="94"/>
                    <a:pt x="94" y="101"/>
                    <a:pt x="86" y="1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-1333500" y="1651000"/>
              <a:ext cx="454025" cy="454025"/>
            </a:xfrm>
            <a:custGeom>
              <a:avLst/>
              <a:gdLst>
                <a:gd name="T0" fmla="*/ 121 w 121"/>
                <a:gd name="T1" fmla="*/ 56 h 121"/>
                <a:gd name="T2" fmla="*/ 119 w 121"/>
                <a:gd name="T3" fmla="*/ 54 h 121"/>
                <a:gd name="T4" fmla="*/ 108 w 121"/>
                <a:gd name="T5" fmla="*/ 46 h 121"/>
                <a:gd name="T6" fmla="*/ 117 w 121"/>
                <a:gd name="T7" fmla="*/ 38 h 121"/>
                <a:gd name="T8" fmla="*/ 115 w 121"/>
                <a:gd name="T9" fmla="*/ 37 h 121"/>
                <a:gd name="T10" fmla="*/ 101 w 121"/>
                <a:gd name="T11" fmla="*/ 32 h 121"/>
                <a:gd name="T12" fmla="*/ 108 w 121"/>
                <a:gd name="T13" fmla="*/ 23 h 121"/>
                <a:gd name="T14" fmla="*/ 105 w 121"/>
                <a:gd name="T15" fmla="*/ 21 h 121"/>
                <a:gd name="T16" fmla="*/ 90 w 121"/>
                <a:gd name="T17" fmla="*/ 21 h 121"/>
                <a:gd name="T18" fmla="*/ 94 w 121"/>
                <a:gd name="T19" fmla="*/ 11 h 121"/>
                <a:gd name="T20" fmla="*/ 90 w 121"/>
                <a:gd name="T21" fmla="*/ 10 h 121"/>
                <a:gd name="T22" fmla="*/ 77 w 121"/>
                <a:gd name="T23" fmla="*/ 14 h 121"/>
                <a:gd name="T24" fmla="*/ 77 w 121"/>
                <a:gd name="T25" fmla="*/ 3 h 121"/>
                <a:gd name="T26" fmla="*/ 73 w 121"/>
                <a:gd name="T27" fmla="*/ 3 h 121"/>
                <a:gd name="T28" fmla="*/ 61 w 121"/>
                <a:gd name="T29" fmla="*/ 11 h 121"/>
                <a:gd name="T30" fmla="*/ 56 w 121"/>
                <a:gd name="T31" fmla="*/ 0 h 121"/>
                <a:gd name="T32" fmla="*/ 55 w 121"/>
                <a:gd name="T33" fmla="*/ 2 h 121"/>
                <a:gd name="T34" fmla="*/ 46 w 121"/>
                <a:gd name="T35" fmla="*/ 13 h 121"/>
                <a:gd name="T36" fmla="*/ 38 w 121"/>
                <a:gd name="T37" fmla="*/ 4 h 121"/>
                <a:gd name="T38" fmla="*/ 37 w 121"/>
                <a:gd name="T39" fmla="*/ 7 h 121"/>
                <a:gd name="T40" fmla="*/ 32 w 121"/>
                <a:gd name="T41" fmla="*/ 20 h 121"/>
                <a:gd name="T42" fmla="*/ 22 w 121"/>
                <a:gd name="T43" fmla="*/ 14 h 121"/>
                <a:gd name="T44" fmla="*/ 21 w 121"/>
                <a:gd name="T45" fmla="*/ 17 h 121"/>
                <a:gd name="T46" fmla="*/ 21 w 121"/>
                <a:gd name="T47" fmla="*/ 31 h 121"/>
                <a:gd name="T48" fmla="*/ 9 w 121"/>
                <a:gd name="T49" fmla="*/ 28 h 121"/>
                <a:gd name="T50" fmla="*/ 10 w 121"/>
                <a:gd name="T51" fmla="*/ 31 h 121"/>
                <a:gd name="T52" fmla="*/ 14 w 121"/>
                <a:gd name="T53" fmla="*/ 45 h 121"/>
                <a:gd name="T54" fmla="*/ 2 w 121"/>
                <a:gd name="T55" fmla="*/ 46 h 121"/>
                <a:gd name="T56" fmla="*/ 3 w 121"/>
                <a:gd name="T57" fmla="*/ 48 h 121"/>
                <a:gd name="T58" fmla="*/ 11 w 121"/>
                <a:gd name="T59" fmla="*/ 60 h 121"/>
                <a:gd name="T60" fmla="*/ 0 w 121"/>
                <a:gd name="T61" fmla="*/ 65 h 121"/>
                <a:gd name="T62" fmla="*/ 2 w 121"/>
                <a:gd name="T63" fmla="*/ 67 h 121"/>
                <a:gd name="T64" fmla="*/ 14 w 121"/>
                <a:gd name="T65" fmla="*/ 75 h 121"/>
                <a:gd name="T66" fmla="*/ 4 w 121"/>
                <a:gd name="T67" fmla="*/ 83 h 121"/>
                <a:gd name="T68" fmla="*/ 7 w 121"/>
                <a:gd name="T69" fmla="*/ 84 h 121"/>
                <a:gd name="T70" fmla="*/ 20 w 121"/>
                <a:gd name="T71" fmla="*/ 89 h 121"/>
                <a:gd name="T72" fmla="*/ 14 w 121"/>
                <a:gd name="T73" fmla="*/ 98 h 121"/>
                <a:gd name="T74" fmla="*/ 17 w 121"/>
                <a:gd name="T75" fmla="*/ 100 h 121"/>
                <a:gd name="T76" fmla="*/ 31 w 121"/>
                <a:gd name="T77" fmla="*/ 100 h 121"/>
                <a:gd name="T78" fmla="*/ 28 w 121"/>
                <a:gd name="T79" fmla="*/ 110 h 121"/>
                <a:gd name="T80" fmla="*/ 31 w 121"/>
                <a:gd name="T81" fmla="*/ 112 h 121"/>
                <a:gd name="T82" fmla="*/ 45 w 121"/>
                <a:gd name="T83" fmla="*/ 107 h 121"/>
                <a:gd name="T84" fmla="*/ 45 w 121"/>
                <a:gd name="T85" fmla="*/ 118 h 121"/>
                <a:gd name="T86" fmla="*/ 49 w 121"/>
                <a:gd name="T87" fmla="*/ 118 h 121"/>
                <a:gd name="T88" fmla="*/ 60 w 121"/>
                <a:gd name="T89" fmla="*/ 110 h 121"/>
                <a:gd name="T90" fmla="*/ 65 w 121"/>
                <a:gd name="T91" fmla="*/ 121 h 121"/>
                <a:gd name="T92" fmla="*/ 67 w 121"/>
                <a:gd name="T93" fmla="*/ 119 h 121"/>
                <a:gd name="T94" fmla="*/ 68 w 121"/>
                <a:gd name="T95" fmla="*/ 109 h 121"/>
                <a:gd name="T96" fmla="*/ 81 w 121"/>
                <a:gd name="T97" fmla="*/ 116 h 121"/>
                <a:gd name="T98" fmla="*/ 85 w 121"/>
                <a:gd name="T99" fmla="*/ 115 h 121"/>
                <a:gd name="T100" fmla="*/ 83 w 121"/>
                <a:gd name="T101" fmla="*/ 104 h 121"/>
                <a:gd name="T102" fmla="*/ 97 w 121"/>
                <a:gd name="T103" fmla="*/ 107 h 121"/>
                <a:gd name="T104" fmla="*/ 101 w 121"/>
                <a:gd name="T105" fmla="*/ 106 h 121"/>
                <a:gd name="T106" fmla="*/ 96 w 121"/>
                <a:gd name="T107" fmla="*/ 95 h 121"/>
                <a:gd name="T108" fmla="*/ 110 w 121"/>
                <a:gd name="T109" fmla="*/ 93 h 121"/>
                <a:gd name="T110" fmla="*/ 113 w 121"/>
                <a:gd name="T111" fmla="*/ 92 h 121"/>
                <a:gd name="T112" fmla="*/ 105 w 121"/>
                <a:gd name="T113" fmla="*/ 83 h 121"/>
                <a:gd name="T114" fmla="*/ 117 w 121"/>
                <a:gd name="T115" fmla="*/ 77 h 121"/>
                <a:gd name="T116" fmla="*/ 120 w 121"/>
                <a:gd name="T117" fmla="*/ 75 h 121"/>
                <a:gd name="T118" fmla="*/ 109 w 121"/>
                <a:gd name="T119" fmla="*/ 68 h 121"/>
                <a:gd name="T120" fmla="*/ 120 w 121"/>
                <a:gd name="T121" fmla="*/ 58 h 121"/>
                <a:gd name="T122" fmla="*/ 50 w 121"/>
                <a:gd name="T123" fmla="*/ 61 h 121"/>
                <a:gd name="T124" fmla="*/ 72 w 121"/>
                <a:gd name="T125" fmla="*/ 6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" h="121">
                  <a:moveTo>
                    <a:pt x="120" y="58"/>
                  </a:moveTo>
                  <a:cubicBezTo>
                    <a:pt x="121" y="58"/>
                    <a:pt x="121" y="57"/>
                    <a:pt x="121" y="56"/>
                  </a:cubicBezTo>
                  <a:cubicBezTo>
                    <a:pt x="121" y="56"/>
                    <a:pt x="121" y="56"/>
                    <a:pt x="121" y="56"/>
                  </a:cubicBezTo>
                  <a:cubicBezTo>
                    <a:pt x="121" y="55"/>
                    <a:pt x="120" y="54"/>
                    <a:pt x="119" y="54"/>
                  </a:cubicBezTo>
                  <a:cubicBezTo>
                    <a:pt x="110" y="53"/>
                    <a:pt x="110" y="53"/>
                    <a:pt x="110" y="53"/>
                  </a:cubicBezTo>
                  <a:cubicBezTo>
                    <a:pt x="109" y="50"/>
                    <a:pt x="109" y="48"/>
                    <a:pt x="108" y="46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7" y="40"/>
                    <a:pt x="117" y="39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7"/>
                    <a:pt x="116" y="36"/>
                    <a:pt x="115" y="37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4" y="36"/>
                    <a:pt x="102" y="34"/>
                    <a:pt x="101" y="3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8" y="24"/>
                    <a:pt x="108" y="23"/>
                    <a:pt x="108" y="23"/>
                  </a:cubicBezTo>
                  <a:cubicBezTo>
                    <a:pt x="108" y="22"/>
                    <a:pt x="108" y="22"/>
                    <a:pt x="107" y="21"/>
                  </a:cubicBezTo>
                  <a:cubicBezTo>
                    <a:pt x="107" y="21"/>
                    <a:pt x="105" y="20"/>
                    <a:pt x="105" y="21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4" y="24"/>
                    <a:pt x="92" y="22"/>
                    <a:pt x="90" y="21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1"/>
                    <a:pt x="94" y="11"/>
                    <a:pt x="94" y="11"/>
                  </a:cubicBezTo>
                  <a:cubicBezTo>
                    <a:pt x="94" y="10"/>
                    <a:pt x="94" y="9"/>
                    <a:pt x="93" y="9"/>
                  </a:cubicBezTo>
                  <a:cubicBezTo>
                    <a:pt x="92" y="8"/>
                    <a:pt x="91" y="9"/>
                    <a:pt x="90" y="10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1" y="15"/>
                    <a:pt x="79" y="15"/>
                    <a:pt x="77" y="14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77" y="4"/>
                    <a:pt x="77" y="4"/>
                    <a:pt x="77" y="3"/>
                  </a:cubicBezTo>
                  <a:cubicBezTo>
                    <a:pt x="77" y="2"/>
                    <a:pt x="76" y="2"/>
                    <a:pt x="75" y="1"/>
                  </a:cubicBezTo>
                  <a:cubicBezTo>
                    <a:pt x="74" y="1"/>
                    <a:pt x="73" y="2"/>
                    <a:pt x="73" y="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6" y="11"/>
                    <a:pt x="64" y="11"/>
                    <a:pt x="61" y="11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8" y="1"/>
                    <a:pt x="58" y="0"/>
                    <a:pt x="56" y="0"/>
                  </a:cubicBezTo>
                  <a:cubicBezTo>
                    <a:pt x="55" y="0"/>
                    <a:pt x="55" y="1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1" y="12"/>
                    <a:pt x="48" y="13"/>
                    <a:pt x="46" y="13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4"/>
                    <a:pt x="39" y="4"/>
                    <a:pt x="38" y="4"/>
                  </a:cubicBezTo>
                  <a:cubicBezTo>
                    <a:pt x="37" y="4"/>
                    <a:pt x="37" y="5"/>
                    <a:pt x="37" y="6"/>
                  </a:cubicBezTo>
                  <a:cubicBezTo>
                    <a:pt x="37" y="6"/>
                    <a:pt x="37" y="6"/>
                    <a:pt x="37" y="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6" y="18"/>
                    <a:pt x="34" y="19"/>
                    <a:pt x="32" y="20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2" y="13"/>
                    <a:pt x="22" y="14"/>
                  </a:cubicBezTo>
                  <a:cubicBezTo>
                    <a:pt x="21" y="14"/>
                    <a:pt x="21" y="15"/>
                    <a:pt x="21" y="15"/>
                  </a:cubicBezTo>
                  <a:cubicBezTo>
                    <a:pt x="21" y="16"/>
                    <a:pt x="21" y="16"/>
                    <a:pt x="21" y="17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4" y="27"/>
                    <a:pt x="23" y="29"/>
                    <a:pt x="21" y="31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7"/>
                    <a:pt x="10" y="27"/>
                    <a:pt x="9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0"/>
                    <a:pt x="15" y="42"/>
                    <a:pt x="14" y="45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3" y="44"/>
                    <a:pt x="2" y="45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7"/>
                    <a:pt x="2" y="48"/>
                    <a:pt x="3" y="48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5"/>
                    <a:pt x="11" y="57"/>
                    <a:pt x="11" y="60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1" y="63"/>
                    <a:pt x="0" y="64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6"/>
                    <a:pt x="1" y="67"/>
                    <a:pt x="2" y="67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13" y="73"/>
                    <a:pt x="14" y="75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4" y="82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5" y="84"/>
                    <a:pt x="6" y="85"/>
                    <a:pt x="7" y="84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8" y="85"/>
                    <a:pt x="19" y="87"/>
                    <a:pt x="20" y="89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8"/>
                    <a:pt x="14" y="98"/>
                  </a:cubicBezTo>
                  <a:cubicBezTo>
                    <a:pt x="14" y="99"/>
                    <a:pt x="14" y="99"/>
                    <a:pt x="14" y="100"/>
                  </a:cubicBezTo>
                  <a:cubicBezTo>
                    <a:pt x="15" y="100"/>
                    <a:pt x="16" y="101"/>
                    <a:pt x="17" y="100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8" y="97"/>
                    <a:pt x="29" y="99"/>
                    <a:pt x="31" y="10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8" y="111"/>
                    <a:pt x="28" y="112"/>
                    <a:pt x="29" y="112"/>
                  </a:cubicBezTo>
                  <a:cubicBezTo>
                    <a:pt x="30" y="113"/>
                    <a:pt x="31" y="112"/>
                    <a:pt x="31" y="112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40" y="106"/>
                    <a:pt x="43" y="106"/>
                    <a:pt x="45" y="10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45" y="117"/>
                    <a:pt x="45" y="117"/>
                    <a:pt x="45" y="118"/>
                  </a:cubicBezTo>
                  <a:cubicBezTo>
                    <a:pt x="45" y="119"/>
                    <a:pt x="45" y="119"/>
                    <a:pt x="46" y="120"/>
                  </a:cubicBezTo>
                  <a:cubicBezTo>
                    <a:pt x="47" y="120"/>
                    <a:pt x="48" y="119"/>
                    <a:pt x="49" y="118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5" y="110"/>
                    <a:pt x="58" y="110"/>
                    <a:pt x="60" y="110"/>
                  </a:cubicBezTo>
                  <a:cubicBezTo>
                    <a:pt x="63" y="119"/>
                    <a:pt x="63" y="119"/>
                    <a:pt x="63" y="119"/>
                  </a:cubicBezTo>
                  <a:cubicBezTo>
                    <a:pt x="63" y="120"/>
                    <a:pt x="64" y="121"/>
                    <a:pt x="65" y="121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6" y="121"/>
                    <a:pt x="67" y="120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71" y="109"/>
                    <a:pt x="73" y="108"/>
                    <a:pt x="75" y="108"/>
                  </a:cubicBezTo>
                  <a:cubicBezTo>
                    <a:pt x="81" y="116"/>
                    <a:pt x="81" y="116"/>
                    <a:pt x="81" y="116"/>
                  </a:cubicBezTo>
                  <a:cubicBezTo>
                    <a:pt x="82" y="117"/>
                    <a:pt x="83" y="117"/>
                    <a:pt x="84" y="117"/>
                  </a:cubicBezTo>
                  <a:cubicBezTo>
                    <a:pt x="84" y="117"/>
                    <a:pt x="85" y="116"/>
                    <a:pt x="85" y="115"/>
                  </a:cubicBezTo>
                  <a:cubicBezTo>
                    <a:pt x="85" y="115"/>
                    <a:pt x="85" y="115"/>
                    <a:pt x="85" y="11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5" y="103"/>
                    <a:pt x="87" y="102"/>
                    <a:pt x="89" y="101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8" y="108"/>
                    <a:pt x="99" y="108"/>
                    <a:pt x="100" y="107"/>
                  </a:cubicBezTo>
                  <a:cubicBezTo>
                    <a:pt x="100" y="107"/>
                    <a:pt x="101" y="106"/>
                    <a:pt x="101" y="106"/>
                  </a:cubicBezTo>
                  <a:cubicBezTo>
                    <a:pt x="101" y="105"/>
                    <a:pt x="100" y="105"/>
                    <a:pt x="100" y="104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7" y="94"/>
                    <a:pt x="99" y="92"/>
                    <a:pt x="100" y="90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1" y="94"/>
                    <a:pt x="112" y="94"/>
                    <a:pt x="112" y="93"/>
                  </a:cubicBezTo>
                  <a:cubicBezTo>
                    <a:pt x="113" y="92"/>
                    <a:pt x="113" y="92"/>
                    <a:pt x="113" y="92"/>
                  </a:cubicBezTo>
                  <a:cubicBezTo>
                    <a:pt x="113" y="91"/>
                    <a:pt x="112" y="90"/>
                    <a:pt x="112" y="90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06" y="81"/>
                    <a:pt x="107" y="79"/>
                    <a:pt x="107" y="76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8" y="77"/>
                    <a:pt x="120" y="76"/>
                    <a:pt x="120" y="75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20" y="74"/>
                    <a:pt x="119" y="73"/>
                    <a:pt x="118" y="73"/>
                  </a:cubicBezTo>
                  <a:cubicBezTo>
                    <a:pt x="109" y="68"/>
                    <a:pt x="109" y="68"/>
                    <a:pt x="109" y="68"/>
                  </a:cubicBezTo>
                  <a:cubicBezTo>
                    <a:pt x="110" y="66"/>
                    <a:pt x="110" y="64"/>
                    <a:pt x="110" y="61"/>
                  </a:cubicBezTo>
                  <a:lnTo>
                    <a:pt x="120" y="58"/>
                  </a:lnTo>
                  <a:close/>
                  <a:moveTo>
                    <a:pt x="61" y="72"/>
                  </a:moveTo>
                  <a:cubicBezTo>
                    <a:pt x="55" y="72"/>
                    <a:pt x="50" y="67"/>
                    <a:pt x="50" y="61"/>
                  </a:cubicBezTo>
                  <a:cubicBezTo>
                    <a:pt x="50" y="54"/>
                    <a:pt x="55" y="49"/>
                    <a:pt x="61" y="49"/>
                  </a:cubicBezTo>
                  <a:cubicBezTo>
                    <a:pt x="67" y="49"/>
                    <a:pt x="72" y="54"/>
                    <a:pt x="72" y="61"/>
                  </a:cubicBezTo>
                  <a:cubicBezTo>
                    <a:pt x="72" y="67"/>
                    <a:pt x="67" y="72"/>
                    <a:pt x="61" y="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3" name="Oval 21"/>
            <p:cNvSpPr>
              <a:spLocks noChangeArrowheads="1"/>
            </p:cNvSpPr>
            <p:nvPr/>
          </p:nvSpPr>
          <p:spPr bwMode="auto">
            <a:xfrm>
              <a:off x="-1055688" y="2462213"/>
              <a:ext cx="171450" cy="171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4" name="Oval 22"/>
            <p:cNvSpPr>
              <a:spLocks noChangeArrowheads="1"/>
            </p:cNvSpPr>
            <p:nvPr/>
          </p:nvSpPr>
          <p:spPr bwMode="auto">
            <a:xfrm>
              <a:off x="-1776413" y="2792413"/>
              <a:ext cx="115888" cy="1190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5" name="Freeform 23"/>
            <p:cNvSpPr>
              <a:spLocks noEditPoints="1"/>
            </p:cNvSpPr>
            <p:nvPr/>
          </p:nvSpPr>
          <p:spPr bwMode="auto">
            <a:xfrm>
              <a:off x="-2773363" y="2439988"/>
              <a:ext cx="2692401" cy="2659063"/>
            </a:xfrm>
            <a:custGeom>
              <a:avLst/>
              <a:gdLst>
                <a:gd name="T0" fmla="*/ 605 w 718"/>
                <a:gd name="T1" fmla="*/ 20 h 709"/>
                <a:gd name="T2" fmla="*/ 602 w 718"/>
                <a:gd name="T3" fmla="*/ 58 h 709"/>
                <a:gd name="T4" fmla="*/ 587 w 718"/>
                <a:gd name="T5" fmla="*/ 93 h 709"/>
                <a:gd name="T6" fmla="*/ 563 w 718"/>
                <a:gd name="T7" fmla="*/ 121 h 709"/>
                <a:gd name="T8" fmla="*/ 530 w 718"/>
                <a:gd name="T9" fmla="*/ 141 h 709"/>
                <a:gd name="T10" fmla="*/ 493 w 718"/>
                <a:gd name="T11" fmla="*/ 149 h 709"/>
                <a:gd name="T12" fmla="*/ 456 w 718"/>
                <a:gd name="T13" fmla="*/ 147 h 709"/>
                <a:gd name="T14" fmla="*/ 420 w 718"/>
                <a:gd name="T15" fmla="*/ 134 h 709"/>
                <a:gd name="T16" fmla="*/ 391 w 718"/>
                <a:gd name="T17" fmla="*/ 110 h 709"/>
                <a:gd name="T18" fmla="*/ 371 w 718"/>
                <a:gd name="T19" fmla="*/ 78 h 709"/>
                <a:gd name="T20" fmla="*/ 361 w 718"/>
                <a:gd name="T21" fmla="*/ 42 h 709"/>
                <a:gd name="T22" fmla="*/ 363 w 718"/>
                <a:gd name="T23" fmla="*/ 4 h 709"/>
                <a:gd name="T24" fmla="*/ 68 w 718"/>
                <a:gd name="T25" fmla="*/ 221 h 709"/>
                <a:gd name="T26" fmla="*/ 162 w 718"/>
                <a:gd name="T27" fmla="*/ 514 h 709"/>
                <a:gd name="T28" fmla="*/ 334 w 718"/>
                <a:gd name="T29" fmla="*/ 176 h 709"/>
                <a:gd name="T30" fmla="*/ 311 w 718"/>
                <a:gd name="T31" fmla="*/ 189 h 709"/>
                <a:gd name="T32" fmla="*/ 288 w 718"/>
                <a:gd name="T33" fmla="*/ 197 h 709"/>
                <a:gd name="T34" fmla="*/ 258 w 718"/>
                <a:gd name="T35" fmla="*/ 192 h 709"/>
                <a:gd name="T36" fmla="*/ 234 w 718"/>
                <a:gd name="T37" fmla="*/ 181 h 709"/>
                <a:gd name="T38" fmla="*/ 214 w 718"/>
                <a:gd name="T39" fmla="*/ 164 h 709"/>
                <a:gd name="T40" fmla="*/ 201 w 718"/>
                <a:gd name="T41" fmla="*/ 141 h 709"/>
                <a:gd name="T42" fmla="*/ 195 w 718"/>
                <a:gd name="T43" fmla="*/ 116 h 709"/>
                <a:gd name="T44" fmla="*/ 197 w 718"/>
                <a:gd name="T45" fmla="*/ 89 h 709"/>
                <a:gd name="T46" fmla="*/ 207 w 718"/>
                <a:gd name="T47" fmla="*/ 64 h 709"/>
                <a:gd name="T48" fmla="*/ 225 w 718"/>
                <a:gd name="T49" fmla="*/ 43 h 709"/>
                <a:gd name="T50" fmla="*/ 249 w 718"/>
                <a:gd name="T51" fmla="*/ 29 h 709"/>
                <a:gd name="T52" fmla="*/ 275 w 718"/>
                <a:gd name="T53" fmla="*/ 23 h 709"/>
                <a:gd name="T54" fmla="*/ 305 w 718"/>
                <a:gd name="T55" fmla="*/ 28 h 709"/>
                <a:gd name="T56" fmla="*/ 329 w 718"/>
                <a:gd name="T57" fmla="*/ 38 h 709"/>
                <a:gd name="T58" fmla="*/ 349 w 718"/>
                <a:gd name="T59" fmla="*/ 55 h 709"/>
                <a:gd name="T60" fmla="*/ 362 w 718"/>
                <a:gd name="T61" fmla="*/ 78 h 709"/>
                <a:gd name="T62" fmla="*/ 368 w 718"/>
                <a:gd name="T63" fmla="*/ 104 h 709"/>
                <a:gd name="T64" fmla="*/ 366 w 718"/>
                <a:gd name="T65" fmla="*/ 131 h 709"/>
                <a:gd name="T66" fmla="*/ 356 w 718"/>
                <a:gd name="T67" fmla="*/ 156 h 709"/>
                <a:gd name="T68" fmla="*/ 338 w 718"/>
                <a:gd name="T69" fmla="*/ 176 h 709"/>
                <a:gd name="T70" fmla="*/ 451 w 718"/>
                <a:gd name="T71" fmla="*/ 208 h 709"/>
                <a:gd name="T72" fmla="*/ 444 w 718"/>
                <a:gd name="T73" fmla="*/ 224 h 709"/>
                <a:gd name="T74" fmla="*/ 433 w 718"/>
                <a:gd name="T75" fmla="*/ 237 h 709"/>
                <a:gd name="T76" fmla="*/ 418 w 718"/>
                <a:gd name="T77" fmla="*/ 247 h 709"/>
                <a:gd name="T78" fmla="*/ 401 w 718"/>
                <a:gd name="T79" fmla="*/ 251 h 709"/>
                <a:gd name="T80" fmla="*/ 383 w 718"/>
                <a:gd name="T81" fmla="*/ 250 h 709"/>
                <a:gd name="T82" fmla="*/ 367 w 718"/>
                <a:gd name="T83" fmla="*/ 243 h 709"/>
                <a:gd name="T84" fmla="*/ 353 w 718"/>
                <a:gd name="T85" fmla="*/ 232 h 709"/>
                <a:gd name="T86" fmla="*/ 343 w 718"/>
                <a:gd name="T87" fmla="*/ 217 h 709"/>
                <a:gd name="T88" fmla="*/ 339 w 718"/>
                <a:gd name="T89" fmla="*/ 200 h 709"/>
                <a:gd name="T90" fmla="*/ 340 w 718"/>
                <a:gd name="T91" fmla="*/ 183 h 709"/>
                <a:gd name="T92" fmla="*/ 346 w 718"/>
                <a:gd name="T93" fmla="*/ 166 h 709"/>
                <a:gd name="T94" fmla="*/ 357 w 718"/>
                <a:gd name="T95" fmla="*/ 153 h 709"/>
                <a:gd name="T96" fmla="*/ 372 w 718"/>
                <a:gd name="T97" fmla="*/ 143 h 709"/>
                <a:gd name="T98" fmla="*/ 389 w 718"/>
                <a:gd name="T99" fmla="*/ 138 h 709"/>
                <a:gd name="T100" fmla="*/ 407 w 718"/>
                <a:gd name="T101" fmla="*/ 139 h 709"/>
                <a:gd name="T102" fmla="*/ 423 w 718"/>
                <a:gd name="T103" fmla="*/ 146 h 709"/>
                <a:gd name="T104" fmla="*/ 437 w 718"/>
                <a:gd name="T105" fmla="*/ 157 h 709"/>
                <a:gd name="T106" fmla="*/ 446 w 718"/>
                <a:gd name="T107" fmla="*/ 172 h 709"/>
                <a:gd name="T108" fmla="*/ 451 w 718"/>
                <a:gd name="T109" fmla="*/ 18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18" h="709">
                  <a:moveTo>
                    <a:pt x="606" y="330"/>
                  </a:moveTo>
                  <a:cubicBezTo>
                    <a:pt x="718" y="140"/>
                    <a:pt x="627" y="0"/>
                    <a:pt x="627" y="0"/>
                  </a:cubicBezTo>
                  <a:cubicBezTo>
                    <a:pt x="578" y="0"/>
                    <a:pt x="578" y="0"/>
                    <a:pt x="578" y="0"/>
                  </a:cubicBezTo>
                  <a:cubicBezTo>
                    <a:pt x="579" y="4"/>
                    <a:pt x="580" y="9"/>
                    <a:pt x="581" y="13"/>
                  </a:cubicBezTo>
                  <a:cubicBezTo>
                    <a:pt x="601" y="16"/>
                    <a:pt x="601" y="16"/>
                    <a:pt x="601" y="16"/>
                  </a:cubicBezTo>
                  <a:cubicBezTo>
                    <a:pt x="603" y="16"/>
                    <a:pt x="605" y="18"/>
                    <a:pt x="605" y="20"/>
                  </a:cubicBezTo>
                  <a:cubicBezTo>
                    <a:pt x="605" y="20"/>
                    <a:pt x="605" y="20"/>
                    <a:pt x="605" y="20"/>
                  </a:cubicBezTo>
                  <a:cubicBezTo>
                    <a:pt x="605" y="23"/>
                    <a:pt x="604" y="24"/>
                    <a:pt x="601" y="24"/>
                  </a:cubicBezTo>
                  <a:cubicBezTo>
                    <a:pt x="582" y="30"/>
                    <a:pt x="582" y="30"/>
                    <a:pt x="582" y="30"/>
                  </a:cubicBezTo>
                  <a:cubicBezTo>
                    <a:pt x="582" y="35"/>
                    <a:pt x="581" y="40"/>
                    <a:pt x="581" y="45"/>
                  </a:cubicBezTo>
                  <a:cubicBezTo>
                    <a:pt x="599" y="54"/>
                    <a:pt x="599" y="54"/>
                    <a:pt x="599" y="54"/>
                  </a:cubicBezTo>
                  <a:cubicBezTo>
                    <a:pt x="601" y="55"/>
                    <a:pt x="602" y="56"/>
                    <a:pt x="602" y="58"/>
                  </a:cubicBezTo>
                  <a:cubicBezTo>
                    <a:pt x="602" y="58"/>
                    <a:pt x="602" y="59"/>
                    <a:pt x="602" y="59"/>
                  </a:cubicBezTo>
                  <a:cubicBezTo>
                    <a:pt x="601" y="61"/>
                    <a:pt x="599" y="62"/>
                    <a:pt x="597" y="62"/>
                  </a:cubicBezTo>
                  <a:cubicBezTo>
                    <a:pt x="577" y="62"/>
                    <a:pt x="577" y="62"/>
                    <a:pt x="577" y="62"/>
                  </a:cubicBezTo>
                  <a:cubicBezTo>
                    <a:pt x="575" y="66"/>
                    <a:pt x="573" y="71"/>
                    <a:pt x="571" y="75"/>
                  </a:cubicBezTo>
                  <a:cubicBezTo>
                    <a:pt x="585" y="89"/>
                    <a:pt x="585" y="89"/>
                    <a:pt x="585" y="89"/>
                  </a:cubicBezTo>
                  <a:cubicBezTo>
                    <a:pt x="587" y="90"/>
                    <a:pt x="587" y="91"/>
                    <a:pt x="587" y="93"/>
                  </a:cubicBezTo>
                  <a:cubicBezTo>
                    <a:pt x="587" y="94"/>
                    <a:pt x="587" y="94"/>
                    <a:pt x="587" y="95"/>
                  </a:cubicBezTo>
                  <a:cubicBezTo>
                    <a:pt x="585" y="97"/>
                    <a:pt x="583" y="97"/>
                    <a:pt x="581" y="96"/>
                  </a:cubicBezTo>
                  <a:cubicBezTo>
                    <a:pt x="562" y="90"/>
                    <a:pt x="562" y="90"/>
                    <a:pt x="562" y="90"/>
                  </a:cubicBezTo>
                  <a:cubicBezTo>
                    <a:pt x="559" y="94"/>
                    <a:pt x="556" y="97"/>
                    <a:pt x="552" y="101"/>
                  </a:cubicBezTo>
                  <a:cubicBezTo>
                    <a:pt x="562" y="119"/>
                    <a:pt x="562" y="119"/>
                    <a:pt x="562" y="119"/>
                  </a:cubicBezTo>
                  <a:cubicBezTo>
                    <a:pt x="562" y="120"/>
                    <a:pt x="563" y="120"/>
                    <a:pt x="563" y="121"/>
                  </a:cubicBezTo>
                  <a:cubicBezTo>
                    <a:pt x="563" y="122"/>
                    <a:pt x="562" y="124"/>
                    <a:pt x="561" y="124"/>
                  </a:cubicBezTo>
                  <a:cubicBezTo>
                    <a:pt x="559" y="126"/>
                    <a:pt x="557" y="126"/>
                    <a:pt x="555" y="124"/>
                  </a:cubicBezTo>
                  <a:cubicBezTo>
                    <a:pt x="539" y="112"/>
                    <a:pt x="539" y="112"/>
                    <a:pt x="539" y="112"/>
                  </a:cubicBezTo>
                  <a:cubicBezTo>
                    <a:pt x="535" y="114"/>
                    <a:pt x="531" y="117"/>
                    <a:pt x="527" y="119"/>
                  </a:cubicBezTo>
                  <a:cubicBezTo>
                    <a:pt x="530" y="139"/>
                    <a:pt x="530" y="139"/>
                    <a:pt x="530" y="139"/>
                  </a:cubicBezTo>
                  <a:cubicBezTo>
                    <a:pt x="530" y="140"/>
                    <a:pt x="530" y="140"/>
                    <a:pt x="530" y="141"/>
                  </a:cubicBezTo>
                  <a:cubicBezTo>
                    <a:pt x="530" y="142"/>
                    <a:pt x="529" y="144"/>
                    <a:pt x="528" y="145"/>
                  </a:cubicBezTo>
                  <a:cubicBezTo>
                    <a:pt x="526" y="145"/>
                    <a:pt x="523" y="144"/>
                    <a:pt x="522" y="142"/>
                  </a:cubicBezTo>
                  <a:cubicBezTo>
                    <a:pt x="511" y="126"/>
                    <a:pt x="511" y="126"/>
                    <a:pt x="511" y="126"/>
                  </a:cubicBezTo>
                  <a:cubicBezTo>
                    <a:pt x="506" y="127"/>
                    <a:pt x="501" y="128"/>
                    <a:pt x="497" y="129"/>
                  </a:cubicBezTo>
                  <a:cubicBezTo>
                    <a:pt x="493" y="149"/>
                    <a:pt x="493" y="149"/>
                    <a:pt x="493" y="149"/>
                  </a:cubicBezTo>
                  <a:cubicBezTo>
                    <a:pt x="493" y="149"/>
                    <a:pt x="493" y="149"/>
                    <a:pt x="493" y="149"/>
                  </a:cubicBezTo>
                  <a:cubicBezTo>
                    <a:pt x="493" y="151"/>
                    <a:pt x="492" y="153"/>
                    <a:pt x="490" y="153"/>
                  </a:cubicBezTo>
                  <a:cubicBezTo>
                    <a:pt x="490" y="153"/>
                    <a:pt x="490" y="153"/>
                    <a:pt x="489" y="153"/>
                  </a:cubicBezTo>
                  <a:cubicBezTo>
                    <a:pt x="487" y="153"/>
                    <a:pt x="486" y="152"/>
                    <a:pt x="485" y="150"/>
                  </a:cubicBezTo>
                  <a:cubicBezTo>
                    <a:pt x="479" y="130"/>
                    <a:pt x="479" y="130"/>
                    <a:pt x="479" y="130"/>
                  </a:cubicBezTo>
                  <a:cubicBezTo>
                    <a:pt x="475" y="130"/>
                    <a:pt x="470" y="130"/>
                    <a:pt x="465" y="129"/>
                  </a:cubicBezTo>
                  <a:cubicBezTo>
                    <a:pt x="456" y="147"/>
                    <a:pt x="456" y="147"/>
                    <a:pt x="456" y="147"/>
                  </a:cubicBezTo>
                  <a:cubicBezTo>
                    <a:pt x="455" y="149"/>
                    <a:pt x="453" y="151"/>
                    <a:pt x="451" y="150"/>
                  </a:cubicBezTo>
                  <a:cubicBezTo>
                    <a:pt x="449" y="150"/>
                    <a:pt x="448" y="148"/>
                    <a:pt x="448" y="146"/>
                  </a:cubicBezTo>
                  <a:cubicBezTo>
                    <a:pt x="448" y="146"/>
                    <a:pt x="448" y="146"/>
                    <a:pt x="448" y="145"/>
                  </a:cubicBezTo>
                  <a:cubicBezTo>
                    <a:pt x="448" y="125"/>
                    <a:pt x="448" y="125"/>
                    <a:pt x="448" y="125"/>
                  </a:cubicBezTo>
                  <a:cubicBezTo>
                    <a:pt x="444" y="123"/>
                    <a:pt x="439" y="121"/>
                    <a:pt x="435" y="119"/>
                  </a:cubicBezTo>
                  <a:cubicBezTo>
                    <a:pt x="420" y="134"/>
                    <a:pt x="420" y="134"/>
                    <a:pt x="420" y="134"/>
                  </a:cubicBezTo>
                  <a:cubicBezTo>
                    <a:pt x="419" y="135"/>
                    <a:pt x="417" y="136"/>
                    <a:pt x="415" y="135"/>
                  </a:cubicBezTo>
                  <a:cubicBezTo>
                    <a:pt x="414" y="134"/>
                    <a:pt x="413" y="133"/>
                    <a:pt x="413" y="131"/>
                  </a:cubicBezTo>
                  <a:cubicBezTo>
                    <a:pt x="413" y="131"/>
                    <a:pt x="413" y="130"/>
                    <a:pt x="414" y="129"/>
                  </a:cubicBezTo>
                  <a:cubicBezTo>
                    <a:pt x="420" y="110"/>
                    <a:pt x="420" y="110"/>
                    <a:pt x="420" y="110"/>
                  </a:cubicBezTo>
                  <a:cubicBezTo>
                    <a:pt x="416" y="107"/>
                    <a:pt x="413" y="104"/>
                    <a:pt x="409" y="101"/>
                  </a:cubicBezTo>
                  <a:cubicBezTo>
                    <a:pt x="391" y="110"/>
                    <a:pt x="391" y="110"/>
                    <a:pt x="391" y="110"/>
                  </a:cubicBezTo>
                  <a:cubicBezTo>
                    <a:pt x="389" y="111"/>
                    <a:pt x="387" y="111"/>
                    <a:pt x="386" y="109"/>
                  </a:cubicBezTo>
                  <a:cubicBezTo>
                    <a:pt x="385" y="109"/>
                    <a:pt x="385" y="108"/>
                    <a:pt x="385" y="107"/>
                  </a:cubicBezTo>
                  <a:cubicBezTo>
                    <a:pt x="385" y="106"/>
                    <a:pt x="385" y="104"/>
                    <a:pt x="386" y="10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5" y="83"/>
                    <a:pt x="393" y="79"/>
                    <a:pt x="391" y="75"/>
                  </a:cubicBezTo>
                  <a:cubicBezTo>
                    <a:pt x="371" y="78"/>
                    <a:pt x="371" y="78"/>
                    <a:pt x="371" y="78"/>
                  </a:cubicBezTo>
                  <a:cubicBezTo>
                    <a:pt x="369" y="79"/>
                    <a:pt x="366" y="78"/>
                    <a:pt x="365" y="76"/>
                  </a:cubicBezTo>
                  <a:cubicBezTo>
                    <a:pt x="365" y="75"/>
                    <a:pt x="365" y="75"/>
                    <a:pt x="365" y="74"/>
                  </a:cubicBezTo>
                  <a:cubicBezTo>
                    <a:pt x="365" y="73"/>
                    <a:pt x="366" y="71"/>
                    <a:pt x="368" y="71"/>
                  </a:cubicBezTo>
                  <a:cubicBezTo>
                    <a:pt x="384" y="59"/>
                    <a:pt x="384" y="59"/>
                    <a:pt x="384" y="59"/>
                  </a:cubicBezTo>
                  <a:cubicBezTo>
                    <a:pt x="383" y="54"/>
                    <a:pt x="382" y="50"/>
                    <a:pt x="381" y="45"/>
                  </a:cubicBezTo>
                  <a:cubicBezTo>
                    <a:pt x="361" y="42"/>
                    <a:pt x="361" y="42"/>
                    <a:pt x="361" y="42"/>
                  </a:cubicBezTo>
                  <a:cubicBezTo>
                    <a:pt x="359" y="42"/>
                    <a:pt x="357" y="40"/>
                    <a:pt x="357" y="38"/>
                  </a:cubicBezTo>
                  <a:cubicBezTo>
                    <a:pt x="357" y="38"/>
                    <a:pt x="357" y="38"/>
                    <a:pt x="357" y="38"/>
                  </a:cubicBezTo>
                  <a:cubicBezTo>
                    <a:pt x="357" y="36"/>
                    <a:pt x="358" y="34"/>
                    <a:pt x="360" y="34"/>
                  </a:cubicBezTo>
                  <a:cubicBezTo>
                    <a:pt x="380" y="28"/>
                    <a:pt x="380" y="28"/>
                    <a:pt x="380" y="28"/>
                  </a:cubicBezTo>
                  <a:cubicBezTo>
                    <a:pt x="380" y="23"/>
                    <a:pt x="380" y="18"/>
                    <a:pt x="381" y="13"/>
                  </a:cubicBezTo>
                  <a:cubicBezTo>
                    <a:pt x="363" y="4"/>
                    <a:pt x="363" y="4"/>
                    <a:pt x="363" y="4"/>
                  </a:cubicBezTo>
                  <a:cubicBezTo>
                    <a:pt x="361" y="4"/>
                    <a:pt x="360" y="2"/>
                    <a:pt x="360" y="0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3" y="41"/>
                    <a:pt x="83" y="85"/>
                    <a:pt x="83" y="85"/>
                  </a:cubicBezTo>
                  <a:cubicBezTo>
                    <a:pt x="71" y="115"/>
                    <a:pt x="79" y="137"/>
                    <a:pt x="79" y="137"/>
                  </a:cubicBezTo>
                  <a:cubicBezTo>
                    <a:pt x="103" y="178"/>
                    <a:pt x="84" y="200"/>
                    <a:pt x="68" y="221"/>
                  </a:cubicBezTo>
                  <a:cubicBezTo>
                    <a:pt x="53" y="242"/>
                    <a:pt x="0" y="315"/>
                    <a:pt x="51" y="317"/>
                  </a:cubicBezTo>
                  <a:cubicBezTo>
                    <a:pt x="99" y="318"/>
                    <a:pt x="84" y="334"/>
                    <a:pt x="84" y="334"/>
                  </a:cubicBezTo>
                  <a:cubicBezTo>
                    <a:pt x="63" y="380"/>
                    <a:pt x="96" y="381"/>
                    <a:pt x="96" y="381"/>
                  </a:cubicBezTo>
                  <a:cubicBezTo>
                    <a:pt x="81" y="408"/>
                    <a:pt x="103" y="409"/>
                    <a:pt x="103" y="409"/>
                  </a:cubicBezTo>
                  <a:cubicBezTo>
                    <a:pt x="135" y="409"/>
                    <a:pt x="118" y="438"/>
                    <a:pt x="118" y="438"/>
                  </a:cubicBezTo>
                  <a:cubicBezTo>
                    <a:pt x="79" y="481"/>
                    <a:pt x="113" y="524"/>
                    <a:pt x="162" y="514"/>
                  </a:cubicBezTo>
                  <a:cubicBezTo>
                    <a:pt x="259" y="494"/>
                    <a:pt x="309" y="527"/>
                    <a:pt x="286" y="597"/>
                  </a:cubicBezTo>
                  <a:cubicBezTo>
                    <a:pt x="263" y="666"/>
                    <a:pt x="232" y="709"/>
                    <a:pt x="232" y="709"/>
                  </a:cubicBezTo>
                  <a:cubicBezTo>
                    <a:pt x="659" y="709"/>
                    <a:pt x="659" y="709"/>
                    <a:pt x="659" y="709"/>
                  </a:cubicBezTo>
                  <a:cubicBezTo>
                    <a:pt x="568" y="521"/>
                    <a:pt x="568" y="521"/>
                    <a:pt x="568" y="521"/>
                  </a:cubicBezTo>
                  <a:cubicBezTo>
                    <a:pt x="540" y="458"/>
                    <a:pt x="606" y="330"/>
                    <a:pt x="606" y="330"/>
                  </a:cubicBezTo>
                  <a:close/>
                  <a:moveTo>
                    <a:pt x="334" y="176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20" y="169"/>
                    <a:pt x="317" y="171"/>
                    <a:pt x="314" y="173"/>
                  </a:cubicBezTo>
                  <a:cubicBezTo>
                    <a:pt x="316" y="187"/>
                    <a:pt x="316" y="187"/>
                    <a:pt x="316" y="187"/>
                  </a:cubicBezTo>
                  <a:cubicBezTo>
                    <a:pt x="316" y="187"/>
                    <a:pt x="316" y="188"/>
                    <a:pt x="316" y="188"/>
                  </a:cubicBezTo>
                  <a:cubicBezTo>
                    <a:pt x="316" y="189"/>
                    <a:pt x="315" y="190"/>
                    <a:pt x="314" y="191"/>
                  </a:cubicBezTo>
                  <a:cubicBezTo>
                    <a:pt x="313" y="191"/>
                    <a:pt x="311" y="190"/>
                    <a:pt x="311" y="189"/>
                  </a:cubicBezTo>
                  <a:cubicBezTo>
                    <a:pt x="302" y="177"/>
                    <a:pt x="302" y="177"/>
                    <a:pt x="302" y="177"/>
                  </a:cubicBezTo>
                  <a:cubicBezTo>
                    <a:pt x="299" y="178"/>
                    <a:pt x="296" y="179"/>
                    <a:pt x="293" y="180"/>
                  </a:cubicBezTo>
                  <a:cubicBezTo>
                    <a:pt x="290" y="194"/>
                    <a:pt x="290" y="194"/>
                    <a:pt x="290" y="194"/>
                  </a:cubicBezTo>
                  <a:cubicBezTo>
                    <a:pt x="290" y="194"/>
                    <a:pt x="290" y="194"/>
                    <a:pt x="290" y="194"/>
                  </a:cubicBezTo>
                  <a:cubicBezTo>
                    <a:pt x="290" y="195"/>
                    <a:pt x="289" y="197"/>
                    <a:pt x="288" y="197"/>
                  </a:cubicBezTo>
                  <a:cubicBezTo>
                    <a:pt x="288" y="197"/>
                    <a:pt x="288" y="197"/>
                    <a:pt x="288" y="197"/>
                  </a:cubicBezTo>
                  <a:cubicBezTo>
                    <a:pt x="286" y="197"/>
                    <a:pt x="285" y="196"/>
                    <a:pt x="285" y="194"/>
                  </a:cubicBezTo>
                  <a:cubicBezTo>
                    <a:pt x="281" y="180"/>
                    <a:pt x="281" y="180"/>
                    <a:pt x="281" y="180"/>
                  </a:cubicBezTo>
                  <a:cubicBezTo>
                    <a:pt x="277" y="180"/>
                    <a:pt x="274" y="180"/>
                    <a:pt x="270" y="180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94"/>
                    <a:pt x="262" y="195"/>
                    <a:pt x="261" y="194"/>
                  </a:cubicBezTo>
                  <a:cubicBezTo>
                    <a:pt x="259" y="194"/>
                    <a:pt x="258" y="193"/>
                    <a:pt x="258" y="192"/>
                  </a:cubicBezTo>
                  <a:cubicBezTo>
                    <a:pt x="258" y="191"/>
                    <a:pt x="258" y="191"/>
                    <a:pt x="259" y="191"/>
                  </a:cubicBezTo>
                  <a:cubicBezTo>
                    <a:pt x="259" y="177"/>
                    <a:pt x="259" y="177"/>
                    <a:pt x="259" y="177"/>
                  </a:cubicBezTo>
                  <a:cubicBezTo>
                    <a:pt x="255" y="176"/>
                    <a:pt x="252" y="174"/>
                    <a:pt x="249" y="173"/>
                  </a:cubicBezTo>
                  <a:cubicBezTo>
                    <a:pt x="239" y="183"/>
                    <a:pt x="239" y="183"/>
                    <a:pt x="239" y="183"/>
                  </a:cubicBezTo>
                  <a:cubicBezTo>
                    <a:pt x="238" y="184"/>
                    <a:pt x="237" y="185"/>
                    <a:pt x="235" y="184"/>
                  </a:cubicBezTo>
                  <a:cubicBezTo>
                    <a:pt x="235" y="183"/>
                    <a:pt x="234" y="182"/>
                    <a:pt x="234" y="181"/>
                  </a:cubicBezTo>
                  <a:cubicBezTo>
                    <a:pt x="234" y="181"/>
                    <a:pt x="234" y="180"/>
                    <a:pt x="235" y="18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6" y="164"/>
                    <a:pt x="234" y="162"/>
                    <a:pt x="231" y="160"/>
                  </a:cubicBezTo>
                  <a:cubicBezTo>
                    <a:pt x="219" y="166"/>
                    <a:pt x="219" y="166"/>
                    <a:pt x="219" y="166"/>
                  </a:cubicBezTo>
                  <a:cubicBezTo>
                    <a:pt x="218" y="167"/>
                    <a:pt x="216" y="167"/>
                    <a:pt x="215" y="166"/>
                  </a:cubicBezTo>
                  <a:cubicBezTo>
                    <a:pt x="214" y="165"/>
                    <a:pt x="214" y="165"/>
                    <a:pt x="214" y="164"/>
                  </a:cubicBezTo>
                  <a:cubicBezTo>
                    <a:pt x="214" y="163"/>
                    <a:pt x="214" y="163"/>
                    <a:pt x="215" y="162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22" y="148"/>
                    <a:pt x="220" y="145"/>
                    <a:pt x="218" y="142"/>
                  </a:cubicBezTo>
                  <a:cubicBezTo>
                    <a:pt x="204" y="144"/>
                    <a:pt x="204" y="144"/>
                    <a:pt x="204" y="144"/>
                  </a:cubicBezTo>
                  <a:cubicBezTo>
                    <a:pt x="203" y="145"/>
                    <a:pt x="201" y="144"/>
                    <a:pt x="201" y="143"/>
                  </a:cubicBezTo>
                  <a:cubicBezTo>
                    <a:pt x="201" y="142"/>
                    <a:pt x="201" y="142"/>
                    <a:pt x="201" y="141"/>
                  </a:cubicBezTo>
                  <a:cubicBezTo>
                    <a:pt x="201" y="140"/>
                    <a:pt x="201" y="139"/>
                    <a:pt x="202" y="139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3" y="127"/>
                    <a:pt x="212" y="124"/>
                    <a:pt x="212" y="121"/>
                  </a:cubicBezTo>
                  <a:cubicBezTo>
                    <a:pt x="198" y="119"/>
                    <a:pt x="198" y="119"/>
                    <a:pt x="198" y="119"/>
                  </a:cubicBezTo>
                  <a:cubicBezTo>
                    <a:pt x="196" y="119"/>
                    <a:pt x="195" y="118"/>
                    <a:pt x="195" y="116"/>
                  </a:cubicBezTo>
                  <a:cubicBezTo>
                    <a:pt x="195" y="116"/>
                    <a:pt x="195" y="116"/>
                    <a:pt x="195" y="116"/>
                  </a:cubicBezTo>
                  <a:cubicBezTo>
                    <a:pt x="195" y="114"/>
                    <a:pt x="196" y="113"/>
                    <a:pt x="197" y="113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5"/>
                    <a:pt x="211" y="102"/>
                    <a:pt x="212" y="99"/>
                  </a:cubicBezTo>
                  <a:cubicBezTo>
                    <a:pt x="199" y="92"/>
                    <a:pt x="199" y="92"/>
                    <a:pt x="199" y="92"/>
                  </a:cubicBezTo>
                  <a:cubicBezTo>
                    <a:pt x="198" y="92"/>
                    <a:pt x="197" y="91"/>
                    <a:pt x="197" y="89"/>
                  </a:cubicBezTo>
                  <a:cubicBezTo>
                    <a:pt x="197" y="89"/>
                    <a:pt x="197" y="89"/>
                    <a:pt x="197" y="89"/>
                  </a:cubicBezTo>
                  <a:cubicBezTo>
                    <a:pt x="197" y="87"/>
                    <a:pt x="199" y="86"/>
                    <a:pt x="200" y="87"/>
                  </a:cubicBezTo>
                  <a:cubicBezTo>
                    <a:pt x="215" y="87"/>
                    <a:pt x="215" y="87"/>
                    <a:pt x="215" y="87"/>
                  </a:cubicBezTo>
                  <a:cubicBezTo>
                    <a:pt x="216" y="84"/>
                    <a:pt x="217" y="81"/>
                    <a:pt x="218" y="78"/>
                  </a:cubicBezTo>
                  <a:cubicBezTo>
                    <a:pt x="208" y="68"/>
                    <a:pt x="208" y="68"/>
                    <a:pt x="208" y="68"/>
                  </a:cubicBezTo>
                  <a:cubicBezTo>
                    <a:pt x="208" y="67"/>
                    <a:pt x="207" y="66"/>
                    <a:pt x="207" y="65"/>
                  </a:cubicBezTo>
                  <a:cubicBezTo>
                    <a:pt x="207" y="65"/>
                    <a:pt x="207" y="64"/>
                    <a:pt x="207" y="64"/>
                  </a:cubicBezTo>
                  <a:cubicBezTo>
                    <a:pt x="208" y="62"/>
                    <a:pt x="210" y="62"/>
                    <a:pt x="211" y="63"/>
                  </a:cubicBezTo>
                  <a:cubicBezTo>
                    <a:pt x="225" y="67"/>
                    <a:pt x="225" y="67"/>
                    <a:pt x="225" y="67"/>
                  </a:cubicBezTo>
                  <a:cubicBezTo>
                    <a:pt x="227" y="65"/>
                    <a:pt x="229" y="62"/>
                    <a:pt x="232" y="60"/>
                  </a:cubicBezTo>
                  <a:cubicBezTo>
                    <a:pt x="225" y="47"/>
                    <a:pt x="225" y="47"/>
                    <a:pt x="225" y="47"/>
                  </a:cubicBezTo>
                  <a:cubicBezTo>
                    <a:pt x="225" y="46"/>
                    <a:pt x="224" y="46"/>
                    <a:pt x="224" y="45"/>
                  </a:cubicBezTo>
                  <a:cubicBezTo>
                    <a:pt x="224" y="44"/>
                    <a:pt x="225" y="44"/>
                    <a:pt x="225" y="43"/>
                  </a:cubicBezTo>
                  <a:cubicBezTo>
                    <a:pt x="227" y="42"/>
                    <a:pt x="228" y="42"/>
                    <a:pt x="229" y="43"/>
                  </a:cubicBezTo>
                  <a:cubicBezTo>
                    <a:pt x="241" y="52"/>
                    <a:pt x="241" y="52"/>
                    <a:pt x="241" y="52"/>
                  </a:cubicBezTo>
                  <a:cubicBezTo>
                    <a:pt x="243" y="50"/>
                    <a:pt x="246" y="48"/>
                    <a:pt x="249" y="47"/>
                  </a:cubicBezTo>
                  <a:cubicBezTo>
                    <a:pt x="247" y="33"/>
                    <a:pt x="247" y="33"/>
                    <a:pt x="247" y="33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247" y="30"/>
                    <a:pt x="248" y="29"/>
                    <a:pt x="249" y="29"/>
                  </a:cubicBezTo>
                  <a:cubicBezTo>
                    <a:pt x="250" y="28"/>
                    <a:pt x="252" y="29"/>
                    <a:pt x="252" y="31"/>
                  </a:cubicBezTo>
                  <a:cubicBezTo>
                    <a:pt x="261" y="42"/>
                    <a:pt x="261" y="42"/>
                    <a:pt x="261" y="42"/>
                  </a:cubicBezTo>
                  <a:cubicBezTo>
                    <a:pt x="264" y="41"/>
                    <a:pt x="267" y="40"/>
                    <a:pt x="270" y="40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3" y="24"/>
                    <a:pt x="274" y="23"/>
                    <a:pt x="275" y="23"/>
                  </a:cubicBezTo>
                  <a:cubicBezTo>
                    <a:pt x="277" y="23"/>
                    <a:pt x="278" y="24"/>
                    <a:pt x="278" y="25"/>
                  </a:cubicBezTo>
                  <a:cubicBezTo>
                    <a:pt x="282" y="39"/>
                    <a:pt x="282" y="39"/>
                    <a:pt x="282" y="39"/>
                  </a:cubicBezTo>
                  <a:cubicBezTo>
                    <a:pt x="286" y="39"/>
                    <a:pt x="289" y="39"/>
                    <a:pt x="293" y="40"/>
                  </a:cubicBezTo>
                  <a:cubicBezTo>
                    <a:pt x="299" y="27"/>
                    <a:pt x="299" y="27"/>
                    <a:pt x="299" y="27"/>
                  </a:cubicBezTo>
                  <a:cubicBezTo>
                    <a:pt x="299" y="26"/>
                    <a:pt x="301" y="25"/>
                    <a:pt x="302" y="25"/>
                  </a:cubicBezTo>
                  <a:cubicBezTo>
                    <a:pt x="304" y="25"/>
                    <a:pt x="305" y="27"/>
                    <a:pt x="305" y="28"/>
                  </a:cubicBezTo>
                  <a:cubicBezTo>
                    <a:pt x="305" y="28"/>
                    <a:pt x="305" y="28"/>
                    <a:pt x="304" y="29"/>
                  </a:cubicBezTo>
                  <a:cubicBezTo>
                    <a:pt x="304" y="43"/>
                    <a:pt x="304" y="43"/>
                    <a:pt x="304" y="43"/>
                  </a:cubicBezTo>
                  <a:cubicBezTo>
                    <a:pt x="308" y="44"/>
                    <a:pt x="311" y="45"/>
                    <a:pt x="314" y="47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5" y="35"/>
                    <a:pt x="326" y="35"/>
                    <a:pt x="328" y="36"/>
                  </a:cubicBezTo>
                  <a:cubicBezTo>
                    <a:pt x="328" y="36"/>
                    <a:pt x="329" y="37"/>
                    <a:pt x="329" y="38"/>
                  </a:cubicBezTo>
                  <a:cubicBezTo>
                    <a:pt x="329" y="39"/>
                    <a:pt x="329" y="39"/>
                    <a:pt x="328" y="40"/>
                  </a:cubicBezTo>
                  <a:cubicBezTo>
                    <a:pt x="324" y="53"/>
                    <a:pt x="324" y="53"/>
                    <a:pt x="324" y="53"/>
                  </a:cubicBezTo>
                  <a:cubicBezTo>
                    <a:pt x="327" y="55"/>
                    <a:pt x="329" y="57"/>
                    <a:pt x="332" y="60"/>
                  </a:cubicBezTo>
                  <a:cubicBezTo>
                    <a:pt x="344" y="53"/>
                    <a:pt x="344" y="53"/>
                    <a:pt x="344" y="53"/>
                  </a:cubicBezTo>
                  <a:cubicBezTo>
                    <a:pt x="345" y="52"/>
                    <a:pt x="347" y="52"/>
                    <a:pt x="348" y="54"/>
                  </a:cubicBezTo>
                  <a:cubicBezTo>
                    <a:pt x="349" y="54"/>
                    <a:pt x="349" y="55"/>
                    <a:pt x="349" y="55"/>
                  </a:cubicBezTo>
                  <a:cubicBezTo>
                    <a:pt x="349" y="56"/>
                    <a:pt x="349" y="57"/>
                    <a:pt x="348" y="58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1" y="72"/>
                    <a:pt x="343" y="75"/>
                    <a:pt x="345" y="78"/>
                  </a:cubicBezTo>
                  <a:cubicBezTo>
                    <a:pt x="359" y="75"/>
                    <a:pt x="359" y="75"/>
                    <a:pt x="359" y="75"/>
                  </a:cubicBezTo>
                  <a:cubicBezTo>
                    <a:pt x="360" y="75"/>
                    <a:pt x="362" y="76"/>
                    <a:pt x="362" y="77"/>
                  </a:cubicBezTo>
                  <a:cubicBezTo>
                    <a:pt x="362" y="77"/>
                    <a:pt x="362" y="78"/>
                    <a:pt x="362" y="78"/>
                  </a:cubicBezTo>
                  <a:cubicBezTo>
                    <a:pt x="362" y="79"/>
                    <a:pt x="362" y="80"/>
                    <a:pt x="361" y="81"/>
                  </a:cubicBezTo>
                  <a:cubicBezTo>
                    <a:pt x="349" y="89"/>
                    <a:pt x="349" y="89"/>
                    <a:pt x="349" y="89"/>
                  </a:cubicBezTo>
                  <a:cubicBezTo>
                    <a:pt x="350" y="92"/>
                    <a:pt x="351" y="95"/>
                    <a:pt x="351" y="99"/>
                  </a:cubicBezTo>
                  <a:cubicBezTo>
                    <a:pt x="365" y="101"/>
                    <a:pt x="365" y="101"/>
                    <a:pt x="365" y="101"/>
                  </a:cubicBezTo>
                  <a:cubicBezTo>
                    <a:pt x="367" y="101"/>
                    <a:pt x="368" y="102"/>
                    <a:pt x="368" y="104"/>
                  </a:cubicBezTo>
                  <a:cubicBezTo>
                    <a:pt x="368" y="104"/>
                    <a:pt x="368" y="104"/>
                    <a:pt x="368" y="104"/>
                  </a:cubicBezTo>
                  <a:cubicBezTo>
                    <a:pt x="368" y="105"/>
                    <a:pt x="367" y="106"/>
                    <a:pt x="366" y="107"/>
                  </a:cubicBezTo>
                  <a:cubicBezTo>
                    <a:pt x="352" y="111"/>
                    <a:pt x="352" y="111"/>
                    <a:pt x="352" y="111"/>
                  </a:cubicBezTo>
                  <a:cubicBezTo>
                    <a:pt x="352" y="114"/>
                    <a:pt x="352" y="118"/>
                    <a:pt x="351" y="121"/>
                  </a:cubicBezTo>
                  <a:cubicBezTo>
                    <a:pt x="364" y="127"/>
                    <a:pt x="364" y="127"/>
                    <a:pt x="364" y="127"/>
                  </a:cubicBezTo>
                  <a:cubicBezTo>
                    <a:pt x="365" y="128"/>
                    <a:pt x="366" y="129"/>
                    <a:pt x="366" y="130"/>
                  </a:cubicBezTo>
                  <a:cubicBezTo>
                    <a:pt x="366" y="130"/>
                    <a:pt x="366" y="130"/>
                    <a:pt x="366" y="131"/>
                  </a:cubicBezTo>
                  <a:cubicBezTo>
                    <a:pt x="366" y="132"/>
                    <a:pt x="364" y="133"/>
                    <a:pt x="363" y="133"/>
                  </a:cubicBezTo>
                  <a:cubicBezTo>
                    <a:pt x="348" y="133"/>
                    <a:pt x="348" y="133"/>
                    <a:pt x="348" y="133"/>
                  </a:cubicBezTo>
                  <a:cubicBezTo>
                    <a:pt x="347" y="136"/>
                    <a:pt x="346" y="139"/>
                    <a:pt x="345" y="142"/>
                  </a:cubicBezTo>
                  <a:cubicBezTo>
                    <a:pt x="355" y="152"/>
                    <a:pt x="355" y="152"/>
                    <a:pt x="355" y="152"/>
                  </a:cubicBezTo>
                  <a:cubicBezTo>
                    <a:pt x="355" y="153"/>
                    <a:pt x="356" y="153"/>
                    <a:pt x="356" y="154"/>
                  </a:cubicBezTo>
                  <a:cubicBezTo>
                    <a:pt x="356" y="155"/>
                    <a:pt x="356" y="155"/>
                    <a:pt x="356" y="156"/>
                  </a:cubicBezTo>
                  <a:cubicBezTo>
                    <a:pt x="355" y="157"/>
                    <a:pt x="353" y="158"/>
                    <a:pt x="352" y="157"/>
                  </a:cubicBezTo>
                  <a:cubicBezTo>
                    <a:pt x="338" y="152"/>
                    <a:pt x="338" y="152"/>
                    <a:pt x="338" y="152"/>
                  </a:cubicBezTo>
                  <a:cubicBezTo>
                    <a:pt x="336" y="155"/>
                    <a:pt x="334" y="157"/>
                    <a:pt x="331" y="160"/>
                  </a:cubicBezTo>
                  <a:cubicBezTo>
                    <a:pt x="338" y="173"/>
                    <a:pt x="338" y="173"/>
                    <a:pt x="338" y="173"/>
                  </a:cubicBezTo>
                  <a:cubicBezTo>
                    <a:pt x="338" y="173"/>
                    <a:pt x="339" y="174"/>
                    <a:pt x="339" y="174"/>
                  </a:cubicBezTo>
                  <a:cubicBezTo>
                    <a:pt x="339" y="175"/>
                    <a:pt x="338" y="176"/>
                    <a:pt x="338" y="176"/>
                  </a:cubicBezTo>
                  <a:cubicBezTo>
                    <a:pt x="336" y="177"/>
                    <a:pt x="335" y="177"/>
                    <a:pt x="334" y="176"/>
                  </a:cubicBezTo>
                  <a:close/>
                  <a:moveTo>
                    <a:pt x="451" y="192"/>
                  </a:moveTo>
                  <a:cubicBezTo>
                    <a:pt x="442" y="195"/>
                    <a:pt x="442" y="195"/>
                    <a:pt x="442" y="195"/>
                  </a:cubicBezTo>
                  <a:cubicBezTo>
                    <a:pt x="442" y="197"/>
                    <a:pt x="442" y="200"/>
                    <a:pt x="441" y="202"/>
                  </a:cubicBezTo>
                  <a:cubicBezTo>
                    <a:pt x="450" y="206"/>
                    <a:pt x="450" y="206"/>
                    <a:pt x="450" y="206"/>
                  </a:cubicBezTo>
                  <a:cubicBezTo>
                    <a:pt x="451" y="206"/>
                    <a:pt x="451" y="207"/>
                    <a:pt x="451" y="208"/>
                  </a:cubicBezTo>
                  <a:cubicBezTo>
                    <a:pt x="451" y="208"/>
                    <a:pt x="451" y="208"/>
                    <a:pt x="451" y="208"/>
                  </a:cubicBezTo>
                  <a:cubicBezTo>
                    <a:pt x="451" y="209"/>
                    <a:pt x="450" y="210"/>
                    <a:pt x="449" y="210"/>
                  </a:cubicBezTo>
                  <a:cubicBezTo>
                    <a:pt x="439" y="210"/>
                    <a:pt x="439" y="210"/>
                    <a:pt x="439" y="210"/>
                  </a:cubicBezTo>
                  <a:cubicBezTo>
                    <a:pt x="439" y="212"/>
                    <a:pt x="438" y="214"/>
                    <a:pt x="437" y="216"/>
                  </a:cubicBezTo>
                  <a:cubicBezTo>
                    <a:pt x="444" y="223"/>
                    <a:pt x="444" y="223"/>
                    <a:pt x="444" y="223"/>
                  </a:cubicBezTo>
                  <a:cubicBezTo>
                    <a:pt x="444" y="223"/>
                    <a:pt x="444" y="224"/>
                    <a:pt x="444" y="224"/>
                  </a:cubicBezTo>
                  <a:cubicBezTo>
                    <a:pt x="444" y="225"/>
                    <a:pt x="444" y="225"/>
                    <a:pt x="444" y="225"/>
                  </a:cubicBezTo>
                  <a:cubicBezTo>
                    <a:pt x="444" y="226"/>
                    <a:pt x="443" y="226"/>
                    <a:pt x="442" y="226"/>
                  </a:cubicBezTo>
                  <a:cubicBezTo>
                    <a:pt x="433" y="223"/>
                    <a:pt x="433" y="223"/>
                    <a:pt x="433" y="223"/>
                  </a:cubicBezTo>
                  <a:cubicBezTo>
                    <a:pt x="431" y="224"/>
                    <a:pt x="430" y="226"/>
                    <a:pt x="428" y="228"/>
                  </a:cubicBezTo>
                  <a:cubicBezTo>
                    <a:pt x="433" y="236"/>
                    <a:pt x="433" y="236"/>
                    <a:pt x="433" y="236"/>
                  </a:cubicBezTo>
                  <a:cubicBezTo>
                    <a:pt x="433" y="237"/>
                    <a:pt x="433" y="237"/>
                    <a:pt x="433" y="237"/>
                  </a:cubicBezTo>
                  <a:cubicBezTo>
                    <a:pt x="433" y="238"/>
                    <a:pt x="433" y="239"/>
                    <a:pt x="432" y="239"/>
                  </a:cubicBezTo>
                  <a:cubicBezTo>
                    <a:pt x="431" y="240"/>
                    <a:pt x="430" y="239"/>
                    <a:pt x="430" y="239"/>
                  </a:cubicBezTo>
                  <a:cubicBezTo>
                    <a:pt x="422" y="233"/>
                    <a:pt x="422" y="233"/>
                    <a:pt x="422" y="233"/>
                  </a:cubicBezTo>
                  <a:cubicBezTo>
                    <a:pt x="420" y="234"/>
                    <a:pt x="418" y="235"/>
                    <a:pt x="416" y="236"/>
                  </a:cubicBezTo>
                  <a:cubicBezTo>
                    <a:pt x="418" y="246"/>
                    <a:pt x="418" y="246"/>
                    <a:pt x="418" y="246"/>
                  </a:cubicBezTo>
                  <a:cubicBezTo>
                    <a:pt x="418" y="246"/>
                    <a:pt x="418" y="246"/>
                    <a:pt x="418" y="247"/>
                  </a:cubicBezTo>
                  <a:cubicBezTo>
                    <a:pt x="418" y="247"/>
                    <a:pt x="417" y="248"/>
                    <a:pt x="417" y="248"/>
                  </a:cubicBezTo>
                  <a:cubicBezTo>
                    <a:pt x="416" y="249"/>
                    <a:pt x="415" y="248"/>
                    <a:pt x="414" y="247"/>
                  </a:cubicBezTo>
                  <a:cubicBezTo>
                    <a:pt x="409" y="239"/>
                    <a:pt x="409" y="239"/>
                    <a:pt x="409" y="239"/>
                  </a:cubicBezTo>
                  <a:cubicBezTo>
                    <a:pt x="407" y="240"/>
                    <a:pt x="404" y="241"/>
                    <a:pt x="402" y="241"/>
                  </a:cubicBezTo>
                  <a:cubicBezTo>
                    <a:pt x="401" y="250"/>
                    <a:pt x="401" y="250"/>
                    <a:pt x="401" y="250"/>
                  </a:cubicBezTo>
                  <a:cubicBezTo>
                    <a:pt x="401" y="250"/>
                    <a:pt x="401" y="251"/>
                    <a:pt x="401" y="251"/>
                  </a:cubicBezTo>
                  <a:cubicBezTo>
                    <a:pt x="401" y="252"/>
                    <a:pt x="400" y="252"/>
                    <a:pt x="399" y="252"/>
                  </a:cubicBezTo>
                  <a:cubicBezTo>
                    <a:pt x="399" y="252"/>
                    <a:pt x="399" y="252"/>
                    <a:pt x="399" y="252"/>
                  </a:cubicBezTo>
                  <a:cubicBezTo>
                    <a:pt x="398" y="252"/>
                    <a:pt x="397" y="252"/>
                    <a:pt x="397" y="251"/>
                  </a:cubicBezTo>
                  <a:cubicBezTo>
                    <a:pt x="394" y="242"/>
                    <a:pt x="394" y="242"/>
                    <a:pt x="394" y="242"/>
                  </a:cubicBezTo>
                  <a:cubicBezTo>
                    <a:pt x="392" y="242"/>
                    <a:pt x="390" y="241"/>
                    <a:pt x="387" y="241"/>
                  </a:cubicBezTo>
                  <a:cubicBezTo>
                    <a:pt x="383" y="250"/>
                    <a:pt x="383" y="250"/>
                    <a:pt x="383" y="250"/>
                  </a:cubicBezTo>
                  <a:cubicBezTo>
                    <a:pt x="383" y="251"/>
                    <a:pt x="382" y="251"/>
                    <a:pt x="381" y="251"/>
                  </a:cubicBezTo>
                  <a:cubicBezTo>
                    <a:pt x="380" y="251"/>
                    <a:pt x="379" y="250"/>
                    <a:pt x="379" y="249"/>
                  </a:cubicBezTo>
                  <a:cubicBezTo>
                    <a:pt x="379" y="249"/>
                    <a:pt x="379" y="249"/>
                    <a:pt x="379" y="249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77" y="238"/>
                    <a:pt x="375" y="237"/>
                    <a:pt x="373" y="236"/>
                  </a:cubicBezTo>
                  <a:cubicBezTo>
                    <a:pt x="367" y="243"/>
                    <a:pt x="367" y="243"/>
                    <a:pt x="367" y="243"/>
                  </a:cubicBezTo>
                  <a:cubicBezTo>
                    <a:pt x="366" y="244"/>
                    <a:pt x="365" y="244"/>
                    <a:pt x="364" y="244"/>
                  </a:cubicBezTo>
                  <a:cubicBezTo>
                    <a:pt x="364" y="243"/>
                    <a:pt x="363" y="243"/>
                    <a:pt x="363" y="242"/>
                  </a:cubicBezTo>
                  <a:cubicBezTo>
                    <a:pt x="363" y="242"/>
                    <a:pt x="363" y="242"/>
                    <a:pt x="364" y="241"/>
                  </a:cubicBezTo>
                  <a:cubicBezTo>
                    <a:pt x="367" y="232"/>
                    <a:pt x="367" y="232"/>
                    <a:pt x="367" y="232"/>
                  </a:cubicBezTo>
                  <a:cubicBezTo>
                    <a:pt x="365" y="231"/>
                    <a:pt x="363" y="229"/>
                    <a:pt x="361" y="228"/>
                  </a:cubicBezTo>
                  <a:cubicBezTo>
                    <a:pt x="353" y="232"/>
                    <a:pt x="353" y="232"/>
                    <a:pt x="353" y="232"/>
                  </a:cubicBezTo>
                  <a:cubicBezTo>
                    <a:pt x="352" y="233"/>
                    <a:pt x="351" y="233"/>
                    <a:pt x="350" y="232"/>
                  </a:cubicBezTo>
                  <a:cubicBezTo>
                    <a:pt x="350" y="232"/>
                    <a:pt x="350" y="231"/>
                    <a:pt x="350" y="231"/>
                  </a:cubicBezTo>
                  <a:cubicBezTo>
                    <a:pt x="350" y="230"/>
                    <a:pt x="350" y="230"/>
                    <a:pt x="351" y="229"/>
                  </a:cubicBezTo>
                  <a:cubicBezTo>
                    <a:pt x="356" y="222"/>
                    <a:pt x="356" y="222"/>
                    <a:pt x="356" y="222"/>
                  </a:cubicBezTo>
                  <a:cubicBezTo>
                    <a:pt x="355" y="220"/>
                    <a:pt x="354" y="218"/>
                    <a:pt x="353" y="216"/>
                  </a:cubicBezTo>
                  <a:cubicBezTo>
                    <a:pt x="343" y="217"/>
                    <a:pt x="343" y="217"/>
                    <a:pt x="343" y="217"/>
                  </a:cubicBezTo>
                  <a:cubicBezTo>
                    <a:pt x="342" y="218"/>
                    <a:pt x="341" y="217"/>
                    <a:pt x="341" y="216"/>
                  </a:cubicBezTo>
                  <a:cubicBezTo>
                    <a:pt x="341" y="216"/>
                    <a:pt x="341" y="216"/>
                    <a:pt x="341" y="216"/>
                  </a:cubicBezTo>
                  <a:cubicBezTo>
                    <a:pt x="341" y="215"/>
                    <a:pt x="341" y="214"/>
                    <a:pt x="342" y="214"/>
                  </a:cubicBezTo>
                  <a:cubicBezTo>
                    <a:pt x="350" y="208"/>
                    <a:pt x="350" y="208"/>
                    <a:pt x="350" y="208"/>
                  </a:cubicBezTo>
                  <a:cubicBezTo>
                    <a:pt x="349" y="206"/>
                    <a:pt x="349" y="204"/>
                    <a:pt x="348" y="202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8" y="200"/>
                    <a:pt x="337" y="200"/>
                    <a:pt x="337" y="199"/>
                  </a:cubicBezTo>
                  <a:cubicBezTo>
                    <a:pt x="337" y="199"/>
                    <a:pt x="337" y="198"/>
                    <a:pt x="337" y="198"/>
                  </a:cubicBezTo>
                  <a:cubicBezTo>
                    <a:pt x="337" y="197"/>
                    <a:pt x="338" y="197"/>
                    <a:pt x="339" y="197"/>
                  </a:cubicBezTo>
                  <a:cubicBezTo>
                    <a:pt x="348" y="194"/>
                    <a:pt x="348" y="194"/>
                    <a:pt x="348" y="194"/>
                  </a:cubicBezTo>
                  <a:cubicBezTo>
                    <a:pt x="348" y="191"/>
                    <a:pt x="348" y="189"/>
                    <a:pt x="348" y="187"/>
                  </a:cubicBezTo>
                  <a:cubicBezTo>
                    <a:pt x="340" y="183"/>
                    <a:pt x="340" y="183"/>
                    <a:pt x="340" y="183"/>
                  </a:cubicBezTo>
                  <a:cubicBezTo>
                    <a:pt x="339" y="182"/>
                    <a:pt x="338" y="182"/>
                    <a:pt x="338" y="181"/>
                  </a:cubicBezTo>
                  <a:cubicBezTo>
                    <a:pt x="338" y="181"/>
                    <a:pt x="338" y="181"/>
                    <a:pt x="338" y="180"/>
                  </a:cubicBezTo>
                  <a:cubicBezTo>
                    <a:pt x="339" y="179"/>
                    <a:pt x="340" y="179"/>
                    <a:pt x="341" y="179"/>
                  </a:cubicBezTo>
                  <a:cubicBezTo>
                    <a:pt x="350" y="179"/>
                    <a:pt x="350" y="179"/>
                    <a:pt x="350" y="179"/>
                  </a:cubicBezTo>
                  <a:cubicBezTo>
                    <a:pt x="351" y="177"/>
                    <a:pt x="352" y="175"/>
                    <a:pt x="353" y="173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46" y="166"/>
                    <a:pt x="345" y="165"/>
                    <a:pt x="345" y="165"/>
                  </a:cubicBezTo>
                  <a:cubicBezTo>
                    <a:pt x="345" y="164"/>
                    <a:pt x="345" y="164"/>
                    <a:pt x="345" y="164"/>
                  </a:cubicBezTo>
                  <a:cubicBezTo>
                    <a:pt x="346" y="163"/>
                    <a:pt x="347" y="163"/>
                    <a:pt x="348" y="163"/>
                  </a:cubicBezTo>
                  <a:cubicBezTo>
                    <a:pt x="357" y="166"/>
                    <a:pt x="357" y="166"/>
                    <a:pt x="357" y="166"/>
                  </a:cubicBezTo>
                  <a:cubicBezTo>
                    <a:pt x="358" y="164"/>
                    <a:pt x="360" y="163"/>
                    <a:pt x="361" y="161"/>
                  </a:cubicBezTo>
                  <a:cubicBezTo>
                    <a:pt x="357" y="153"/>
                    <a:pt x="357" y="153"/>
                    <a:pt x="357" y="153"/>
                  </a:cubicBezTo>
                  <a:cubicBezTo>
                    <a:pt x="357" y="152"/>
                    <a:pt x="357" y="152"/>
                    <a:pt x="357" y="151"/>
                  </a:cubicBezTo>
                  <a:cubicBezTo>
                    <a:pt x="357" y="151"/>
                    <a:pt x="357" y="150"/>
                    <a:pt x="357" y="150"/>
                  </a:cubicBezTo>
                  <a:cubicBezTo>
                    <a:pt x="358" y="149"/>
                    <a:pt x="359" y="149"/>
                    <a:pt x="360" y="150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9" y="155"/>
                    <a:pt x="371" y="153"/>
                    <a:pt x="373" y="152"/>
                  </a:cubicBezTo>
                  <a:cubicBezTo>
                    <a:pt x="372" y="143"/>
                    <a:pt x="372" y="143"/>
                    <a:pt x="372" y="143"/>
                  </a:cubicBezTo>
                  <a:cubicBezTo>
                    <a:pt x="372" y="143"/>
                    <a:pt x="372" y="143"/>
                    <a:pt x="372" y="142"/>
                  </a:cubicBezTo>
                  <a:cubicBezTo>
                    <a:pt x="372" y="142"/>
                    <a:pt x="372" y="141"/>
                    <a:pt x="373" y="141"/>
                  </a:cubicBezTo>
                  <a:cubicBezTo>
                    <a:pt x="374" y="140"/>
                    <a:pt x="375" y="141"/>
                    <a:pt x="375" y="142"/>
                  </a:cubicBezTo>
                  <a:cubicBezTo>
                    <a:pt x="381" y="149"/>
                    <a:pt x="381" y="149"/>
                    <a:pt x="381" y="149"/>
                  </a:cubicBezTo>
                  <a:cubicBezTo>
                    <a:pt x="383" y="149"/>
                    <a:pt x="385" y="148"/>
                    <a:pt x="387" y="148"/>
                  </a:cubicBezTo>
                  <a:cubicBezTo>
                    <a:pt x="389" y="138"/>
                    <a:pt x="389" y="138"/>
                    <a:pt x="389" y="138"/>
                  </a:cubicBezTo>
                  <a:cubicBezTo>
                    <a:pt x="389" y="138"/>
                    <a:pt x="389" y="138"/>
                    <a:pt x="389" y="138"/>
                  </a:cubicBezTo>
                  <a:cubicBezTo>
                    <a:pt x="389" y="137"/>
                    <a:pt x="390" y="136"/>
                    <a:pt x="391" y="136"/>
                  </a:cubicBezTo>
                  <a:cubicBezTo>
                    <a:pt x="392" y="136"/>
                    <a:pt x="393" y="137"/>
                    <a:pt x="393" y="138"/>
                  </a:cubicBezTo>
                  <a:cubicBezTo>
                    <a:pt x="395" y="147"/>
                    <a:pt x="395" y="147"/>
                    <a:pt x="395" y="147"/>
                  </a:cubicBezTo>
                  <a:cubicBezTo>
                    <a:pt x="398" y="147"/>
                    <a:pt x="400" y="147"/>
                    <a:pt x="402" y="148"/>
                  </a:cubicBezTo>
                  <a:cubicBezTo>
                    <a:pt x="407" y="139"/>
                    <a:pt x="407" y="139"/>
                    <a:pt x="407" y="139"/>
                  </a:cubicBezTo>
                  <a:cubicBezTo>
                    <a:pt x="407" y="138"/>
                    <a:pt x="408" y="138"/>
                    <a:pt x="409" y="138"/>
                  </a:cubicBezTo>
                  <a:cubicBezTo>
                    <a:pt x="410" y="138"/>
                    <a:pt x="410" y="139"/>
                    <a:pt x="410" y="140"/>
                  </a:cubicBezTo>
                  <a:cubicBezTo>
                    <a:pt x="410" y="140"/>
                    <a:pt x="410" y="140"/>
                    <a:pt x="410" y="140"/>
                  </a:cubicBezTo>
                  <a:cubicBezTo>
                    <a:pt x="410" y="150"/>
                    <a:pt x="410" y="150"/>
                    <a:pt x="410" y="150"/>
                  </a:cubicBezTo>
                  <a:cubicBezTo>
                    <a:pt x="412" y="150"/>
                    <a:pt x="414" y="151"/>
                    <a:pt x="416" y="152"/>
                  </a:cubicBezTo>
                  <a:cubicBezTo>
                    <a:pt x="423" y="146"/>
                    <a:pt x="423" y="146"/>
                    <a:pt x="423" y="146"/>
                  </a:cubicBezTo>
                  <a:cubicBezTo>
                    <a:pt x="424" y="145"/>
                    <a:pt x="425" y="145"/>
                    <a:pt x="426" y="145"/>
                  </a:cubicBezTo>
                  <a:cubicBezTo>
                    <a:pt x="426" y="145"/>
                    <a:pt x="426" y="146"/>
                    <a:pt x="426" y="147"/>
                  </a:cubicBezTo>
                  <a:cubicBezTo>
                    <a:pt x="426" y="147"/>
                    <a:pt x="426" y="147"/>
                    <a:pt x="426" y="148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5" y="158"/>
                    <a:pt x="427" y="159"/>
                    <a:pt x="428" y="161"/>
                  </a:cubicBezTo>
                  <a:cubicBezTo>
                    <a:pt x="437" y="157"/>
                    <a:pt x="437" y="157"/>
                    <a:pt x="437" y="157"/>
                  </a:cubicBezTo>
                  <a:cubicBezTo>
                    <a:pt x="437" y="156"/>
                    <a:pt x="439" y="156"/>
                    <a:pt x="439" y="157"/>
                  </a:cubicBezTo>
                  <a:cubicBezTo>
                    <a:pt x="440" y="157"/>
                    <a:pt x="440" y="158"/>
                    <a:pt x="440" y="158"/>
                  </a:cubicBezTo>
                  <a:cubicBezTo>
                    <a:pt x="440" y="159"/>
                    <a:pt x="440" y="159"/>
                    <a:pt x="439" y="160"/>
                  </a:cubicBezTo>
                  <a:cubicBezTo>
                    <a:pt x="433" y="167"/>
                    <a:pt x="433" y="167"/>
                    <a:pt x="433" y="167"/>
                  </a:cubicBezTo>
                  <a:cubicBezTo>
                    <a:pt x="435" y="169"/>
                    <a:pt x="436" y="171"/>
                    <a:pt x="437" y="173"/>
                  </a:cubicBezTo>
                  <a:cubicBezTo>
                    <a:pt x="446" y="172"/>
                    <a:pt x="446" y="172"/>
                    <a:pt x="446" y="172"/>
                  </a:cubicBezTo>
                  <a:cubicBezTo>
                    <a:pt x="447" y="171"/>
                    <a:pt x="448" y="172"/>
                    <a:pt x="449" y="173"/>
                  </a:cubicBezTo>
                  <a:cubicBezTo>
                    <a:pt x="449" y="173"/>
                    <a:pt x="449" y="173"/>
                    <a:pt x="449" y="173"/>
                  </a:cubicBezTo>
                  <a:cubicBezTo>
                    <a:pt x="449" y="174"/>
                    <a:pt x="448" y="175"/>
                    <a:pt x="448" y="175"/>
                  </a:cubicBezTo>
                  <a:cubicBezTo>
                    <a:pt x="440" y="180"/>
                    <a:pt x="440" y="180"/>
                    <a:pt x="440" y="180"/>
                  </a:cubicBezTo>
                  <a:cubicBezTo>
                    <a:pt x="441" y="183"/>
                    <a:pt x="441" y="185"/>
                    <a:pt x="441" y="187"/>
                  </a:cubicBezTo>
                  <a:cubicBezTo>
                    <a:pt x="451" y="189"/>
                    <a:pt x="451" y="189"/>
                    <a:pt x="451" y="189"/>
                  </a:cubicBezTo>
                  <a:cubicBezTo>
                    <a:pt x="452" y="188"/>
                    <a:pt x="453" y="189"/>
                    <a:pt x="453" y="190"/>
                  </a:cubicBezTo>
                  <a:cubicBezTo>
                    <a:pt x="453" y="190"/>
                    <a:pt x="453" y="190"/>
                    <a:pt x="453" y="190"/>
                  </a:cubicBezTo>
                  <a:cubicBezTo>
                    <a:pt x="453" y="191"/>
                    <a:pt x="452" y="192"/>
                    <a:pt x="451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6" name="Oval 24"/>
            <p:cNvSpPr>
              <a:spLocks noChangeArrowheads="1"/>
            </p:cNvSpPr>
            <p:nvPr/>
          </p:nvSpPr>
          <p:spPr bwMode="auto">
            <a:xfrm>
              <a:off x="-1333500" y="3128963"/>
              <a:ext cx="77788" cy="793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7" name="Freeform 25"/>
            <p:cNvSpPr>
              <a:spLocks/>
            </p:cNvSpPr>
            <p:nvPr/>
          </p:nvSpPr>
          <p:spPr bwMode="auto">
            <a:xfrm>
              <a:off x="-1423988" y="2082800"/>
              <a:ext cx="889000" cy="357188"/>
            </a:xfrm>
            <a:custGeom>
              <a:avLst/>
              <a:gdLst>
                <a:gd name="T0" fmla="*/ 218 w 237"/>
                <a:gd name="T1" fmla="*/ 95 h 95"/>
                <a:gd name="T2" fmla="*/ 217 w 237"/>
                <a:gd name="T3" fmla="*/ 94 h 95"/>
                <a:gd name="T4" fmla="*/ 234 w 237"/>
                <a:gd name="T5" fmla="*/ 82 h 95"/>
                <a:gd name="T6" fmla="*/ 237 w 237"/>
                <a:gd name="T7" fmla="*/ 79 h 95"/>
                <a:gd name="T8" fmla="*/ 236 w 237"/>
                <a:gd name="T9" fmla="*/ 77 h 95"/>
                <a:gd name="T10" fmla="*/ 231 w 237"/>
                <a:gd name="T11" fmla="*/ 75 h 95"/>
                <a:gd name="T12" fmla="*/ 211 w 237"/>
                <a:gd name="T13" fmla="*/ 78 h 95"/>
                <a:gd name="T14" fmla="*/ 203 w 237"/>
                <a:gd name="T15" fmla="*/ 66 h 95"/>
                <a:gd name="T16" fmla="*/ 216 w 237"/>
                <a:gd name="T17" fmla="*/ 49 h 95"/>
                <a:gd name="T18" fmla="*/ 217 w 237"/>
                <a:gd name="T19" fmla="*/ 46 h 95"/>
                <a:gd name="T20" fmla="*/ 216 w 237"/>
                <a:gd name="T21" fmla="*/ 44 h 95"/>
                <a:gd name="T22" fmla="*/ 211 w 237"/>
                <a:gd name="T23" fmla="*/ 43 h 95"/>
                <a:gd name="T24" fmla="*/ 192 w 237"/>
                <a:gd name="T25" fmla="*/ 53 h 95"/>
                <a:gd name="T26" fmla="*/ 181 w 237"/>
                <a:gd name="T27" fmla="*/ 43 h 95"/>
                <a:gd name="T28" fmla="*/ 188 w 237"/>
                <a:gd name="T29" fmla="*/ 24 h 95"/>
                <a:gd name="T30" fmla="*/ 189 w 237"/>
                <a:gd name="T31" fmla="*/ 22 h 95"/>
                <a:gd name="T32" fmla="*/ 187 w 237"/>
                <a:gd name="T33" fmla="*/ 18 h 95"/>
                <a:gd name="T34" fmla="*/ 181 w 237"/>
                <a:gd name="T35" fmla="*/ 20 h 95"/>
                <a:gd name="T36" fmla="*/ 167 w 237"/>
                <a:gd name="T37" fmla="*/ 34 h 95"/>
                <a:gd name="T38" fmla="*/ 153 w 237"/>
                <a:gd name="T39" fmla="*/ 28 h 95"/>
                <a:gd name="T40" fmla="*/ 154 w 237"/>
                <a:gd name="T41" fmla="*/ 8 h 95"/>
                <a:gd name="T42" fmla="*/ 154 w 237"/>
                <a:gd name="T43" fmla="*/ 7 h 95"/>
                <a:gd name="T44" fmla="*/ 151 w 237"/>
                <a:gd name="T45" fmla="*/ 3 h 95"/>
                <a:gd name="T46" fmla="*/ 146 w 237"/>
                <a:gd name="T47" fmla="*/ 6 h 95"/>
                <a:gd name="T48" fmla="*/ 137 w 237"/>
                <a:gd name="T49" fmla="*/ 24 h 95"/>
                <a:gd name="T50" fmla="*/ 122 w 237"/>
                <a:gd name="T51" fmla="*/ 23 h 95"/>
                <a:gd name="T52" fmla="*/ 116 w 237"/>
                <a:gd name="T53" fmla="*/ 4 h 95"/>
                <a:gd name="T54" fmla="*/ 112 w 237"/>
                <a:gd name="T55" fmla="*/ 0 h 95"/>
                <a:gd name="T56" fmla="*/ 108 w 237"/>
                <a:gd name="T57" fmla="*/ 4 h 95"/>
                <a:gd name="T58" fmla="*/ 108 w 237"/>
                <a:gd name="T59" fmla="*/ 4 h 95"/>
                <a:gd name="T60" fmla="*/ 105 w 237"/>
                <a:gd name="T61" fmla="*/ 24 h 95"/>
                <a:gd name="T62" fmla="*/ 91 w 237"/>
                <a:gd name="T63" fmla="*/ 28 h 95"/>
                <a:gd name="T64" fmla="*/ 79 w 237"/>
                <a:gd name="T65" fmla="*/ 11 h 95"/>
                <a:gd name="T66" fmla="*/ 74 w 237"/>
                <a:gd name="T67" fmla="*/ 9 h 95"/>
                <a:gd name="T68" fmla="*/ 71 w 237"/>
                <a:gd name="T69" fmla="*/ 12 h 95"/>
                <a:gd name="T70" fmla="*/ 72 w 237"/>
                <a:gd name="T71" fmla="*/ 14 h 95"/>
                <a:gd name="T72" fmla="*/ 75 w 237"/>
                <a:gd name="T73" fmla="*/ 34 h 95"/>
                <a:gd name="T74" fmla="*/ 63 w 237"/>
                <a:gd name="T75" fmla="*/ 42 h 95"/>
                <a:gd name="T76" fmla="*/ 46 w 237"/>
                <a:gd name="T77" fmla="*/ 29 h 95"/>
                <a:gd name="T78" fmla="*/ 41 w 237"/>
                <a:gd name="T79" fmla="*/ 29 h 95"/>
                <a:gd name="T80" fmla="*/ 39 w 237"/>
                <a:gd name="T81" fmla="*/ 32 h 95"/>
                <a:gd name="T82" fmla="*/ 40 w 237"/>
                <a:gd name="T83" fmla="*/ 34 h 95"/>
                <a:gd name="T84" fmla="*/ 49 w 237"/>
                <a:gd name="T85" fmla="*/ 53 h 95"/>
                <a:gd name="T86" fmla="*/ 40 w 237"/>
                <a:gd name="T87" fmla="*/ 64 h 95"/>
                <a:gd name="T88" fmla="*/ 21 w 237"/>
                <a:gd name="T89" fmla="*/ 57 h 95"/>
                <a:gd name="T90" fmla="*/ 15 w 237"/>
                <a:gd name="T91" fmla="*/ 58 h 95"/>
                <a:gd name="T92" fmla="*/ 14 w 237"/>
                <a:gd name="T93" fmla="*/ 60 h 95"/>
                <a:gd name="T94" fmla="*/ 16 w 237"/>
                <a:gd name="T95" fmla="*/ 64 h 95"/>
                <a:gd name="T96" fmla="*/ 31 w 237"/>
                <a:gd name="T97" fmla="*/ 78 h 95"/>
                <a:gd name="T98" fmla="*/ 25 w 237"/>
                <a:gd name="T99" fmla="*/ 92 h 95"/>
                <a:gd name="T100" fmla="*/ 5 w 237"/>
                <a:gd name="T101" fmla="*/ 91 h 95"/>
                <a:gd name="T102" fmla="*/ 0 w 237"/>
                <a:gd name="T103" fmla="*/ 94 h 95"/>
                <a:gd name="T104" fmla="*/ 0 w 237"/>
                <a:gd name="T105" fmla="*/ 95 h 95"/>
                <a:gd name="T106" fmla="*/ 218 w 237"/>
                <a:gd name="T10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7" h="95">
                  <a:moveTo>
                    <a:pt x="218" y="95"/>
                  </a:moveTo>
                  <a:cubicBezTo>
                    <a:pt x="218" y="95"/>
                    <a:pt x="217" y="94"/>
                    <a:pt x="217" y="94"/>
                  </a:cubicBezTo>
                  <a:cubicBezTo>
                    <a:pt x="234" y="82"/>
                    <a:pt x="234" y="82"/>
                    <a:pt x="234" y="82"/>
                  </a:cubicBezTo>
                  <a:cubicBezTo>
                    <a:pt x="236" y="82"/>
                    <a:pt x="237" y="80"/>
                    <a:pt x="237" y="79"/>
                  </a:cubicBezTo>
                  <a:cubicBezTo>
                    <a:pt x="237" y="78"/>
                    <a:pt x="236" y="78"/>
                    <a:pt x="236" y="77"/>
                  </a:cubicBezTo>
                  <a:cubicBezTo>
                    <a:pt x="235" y="75"/>
                    <a:pt x="233" y="74"/>
                    <a:pt x="231" y="75"/>
                  </a:cubicBezTo>
                  <a:cubicBezTo>
                    <a:pt x="211" y="78"/>
                    <a:pt x="211" y="78"/>
                    <a:pt x="211" y="78"/>
                  </a:cubicBezTo>
                  <a:cubicBezTo>
                    <a:pt x="209" y="74"/>
                    <a:pt x="206" y="70"/>
                    <a:pt x="203" y="66"/>
                  </a:cubicBezTo>
                  <a:cubicBezTo>
                    <a:pt x="216" y="49"/>
                    <a:pt x="216" y="49"/>
                    <a:pt x="216" y="49"/>
                  </a:cubicBezTo>
                  <a:cubicBezTo>
                    <a:pt x="217" y="49"/>
                    <a:pt x="217" y="48"/>
                    <a:pt x="217" y="46"/>
                  </a:cubicBezTo>
                  <a:cubicBezTo>
                    <a:pt x="217" y="46"/>
                    <a:pt x="217" y="45"/>
                    <a:pt x="216" y="44"/>
                  </a:cubicBezTo>
                  <a:cubicBezTo>
                    <a:pt x="215" y="42"/>
                    <a:pt x="212" y="42"/>
                    <a:pt x="211" y="43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89" y="49"/>
                    <a:pt x="185" y="46"/>
                    <a:pt x="181" y="43"/>
                  </a:cubicBezTo>
                  <a:cubicBezTo>
                    <a:pt x="188" y="24"/>
                    <a:pt x="188" y="24"/>
                    <a:pt x="188" y="24"/>
                  </a:cubicBezTo>
                  <a:cubicBezTo>
                    <a:pt x="188" y="23"/>
                    <a:pt x="189" y="22"/>
                    <a:pt x="189" y="22"/>
                  </a:cubicBezTo>
                  <a:cubicBezTo>
                    <a:pt x="189" y="20"/>
                    <a:pt x="188" y="19"/>
                    <a:pt x="187" y="18"/>
                  </a:cubicBezTo>
                  <a:cubicBezTo>
                    <a:pt x="185" y="17"/>
                    <a:pt x="182" y="18"/>
                    <a:pt x="181" y="20"/>
                  </a:cubicBezTo>
                  <a:cubicBezTo>
                    <a:pt x="167" y="34"/>
                    <a:pt x="167" y="34"/>
                    <a:pt x="167" y="34"/>
                  </a:cubicBezTo>
                  <a:cubicBezTo>
                    <a:pt x="162" y="32"/>
                    <a:pt x="158" y="30"/>
                    <a:pt x="153" y="28"/>
                  </a:cubicBezTo>
                  <a:cubicBezTo>
                    <a:pt x="154" y="8"/>
                    <a:pt x="154" y="8"/>
                    <a:pt x="154" y="8"/>
                  </a:cubicBezTo>
                  <a:cubicBezTo>
                    <a:pt x="154" y="8"/>
                    <a:pt x="154" y="7"/>
                    <a:pt x="154" y="7"/>
                  </a:cubicBezTo>
                  <a:cubicBezTo>
                    <a:pt x="154" y="5"/>
                    <a:pt x="153" y="4"/>
                    <a:pt x="151" y="3"/>
                  </a:cubicBezTo>
                  <a:cubicBezTo>
                    <a:pt x="149" y="3"/>
                    <a:pt x="146" y="4"/>
                    <a:pt x="146" y="6"/>
                  </a:cubicBezTo>
                  <a:cubicBezTo>
                    <a:pt x="137" y="24"/>
                    <a:pt x="137" y="24"/>
                    <a:pt x="137" y="24"/>
                  </a:cubicBezTo>
                  <a:cubicBezTo>
                    <a:pt x="132" y="24"/>
                    <a:pt x="127" y="23"/>
                    <a:pt x="122" y="23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6" y="1"/>
                    <a:pt x="114" y="0"/>
                    <a:pt x="112" y="0"/>
                  </a:cubicBezTo>
                  <a:cubicBezTo>
                    <a:pt x="110" y="0"/>
                    <a:pt x="108" y="2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5" y="24"/>
                    <a:pt x="105" y="24"/>
                    <a:pt x="105" y="24"/>
                  </a:cubicBezTo>
                  <a:cubicBezTo>
                    <a:pt x="100" y="25"/>
                    <a:pt x="95" y="26"/>
                    <a:pt x="91" y="28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8" y="9"/>
                    <a:pt x="76" y="8"/>
                    <a:pt x="74" y="9"/>
                  </a:cubicBezTo>
                  <a:cubicBezTo>
                    <a:pt x="72" y="9"/>
                    <a:pt x="71" y="11"/>
                    <a:pt x="71" y="12"/>
                  </a:cubicBezTo>
                  <a:cubicBezTo>
                    <a:pt x="71" y="13"/>
                    <a:pt x="72" y="13"/>
                    <a:pt x="72" y="1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1" y="36"/>
                    <a:pt x="66" y="39"/>
                    <a:pt x="63" y="42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5" y="28"/>
                    <a:pt x="42" y="27"/>
                    <a:pt x="41" y="29"/>
                  </a:cubicBezTo>
                  <a:cubicBezTo>
                    <a:pt x="40" y="30"/>
                    <a:pt x="39" y="31"/>
                    <a:pt x="39" y="32"/>
                  </a:cubicBezTo>
                  <a:cubicBezTo>
                    <a:pt x="39" y="33"/>
                    <a:pt x="39" y="34"/>
                    <a:pt x="40" y="3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6" y="56"/>
                    <a:pt x="43" y="60"/>
                    <a:pt x="40" y="64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19" y="56"/>
                    <a:pt x="16" y="56"/>
                    <a:pt x="15" y="58"/>
                  </a:cubicBezTo>
                  <a:cubicBezTo>
                    <a:pt x="15" y="59"/>
                    <a:pt x="14" y="60"/>
                    <a:pt x="14" y="60"/>
                  </a:cubicBezTo>
                  <a:cubicBezTo>
                    <a:pt x="14" y="62"/>
                    <a:pt x="15" y="63"/>
                    <a:pt x="16" y="64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29" y="82"/>
                    <a:pt x="27" y="87"/>
                    <a:pt x="25" y="92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2"/>
                    <a:pt x="0" y="94"/>
                  </a:cubicBezTo>
                  <a:cubicBezTo>
                    <a:pt x="0" y="94"/>
                    <a:pt x="0" y="95"/>
                    <a:pt x="0" y="95"/>
                  </a:cubicBezTo>
                  <a:lnTo>
                    <a:pt x="218" y="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9759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7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409303" y="1175040"/>
            <a:ext cx="10759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R3.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 回测</a:t>
            </a:r>
            <a:r>
              <a:rPr lang="zh-CN" altLang="en-US" sz="28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模拟执行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需求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8" name="Rectangle 2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614905" y="3994483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将选定策略代码，在给定的历史时间区间内，以一定频率和交易方式，进行回测，并比较与基准策略（如沪深</a:t>
            </a: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300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）的运行结果差异。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zh-CN" alt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参考优矿、聚宽、米筐等公开量化研究平台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的策略历史数据回测功能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60" name="Rectangle 31"/>
          <p:cNvSpPr/>
          <p:nvPr>
            <p:custDataLst>
              <p:tags r:id="rId2"/>
            </p:custDataLst>
          </p:nvPr>
        </p:nvSpPr>
        <p:spPr bwMode="auto">
          <a:xfrm>
            <a:off x="2614905" y="2001551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3.</a:t>
            </a:r>
            <a:r>
              <a:rPr lang="en-US" altLang="zh-CN" sz="15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1</a:t>
            </a:r>
            <a:r>
              <a:rPr lang="zh-CN" altLang="en-US" sz="15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 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历史数据回测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62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022215" y="3994483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将选定策略代码，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在未来一定的时间区间内，</a:t>
            </a: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以一定频率和交易方式，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进行交易模拟，</a:t>
            </a: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并比较与基准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策略（如沪深</a:t>
            </a:r>
            <a:r>
              <a:rPr lang="en-US" altLang="zh-CN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300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）的</a:t>
            </a: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运行结果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差异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zh-CN" altLang="en-US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参考优矿、聚宽、米筐等公开量化研究平台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的模拟交易功能。</a:t>
            </a:r>
            <a:endParaRPr lang="en-US" altLang="zh-CN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64" name="Rectangle 31"/>
          <p:cNvSpPr/>
          <p:nvPr>
            <p:custDataLst>
              <p:tags r:id="rId4"/>
            </p:custDataLst>
          </p:nvPr>
        </p:nvSpPr>
        <p:spPr bwMode="auto">
          <a:xfrm>
            <a:off x="5022215" y="2001551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3.2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未来交易模拟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25" name="Rectangle 2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7429525" y="3994483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将模拟交易运行期间，所有交易信息，实时发送到绑定的微信号上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zh-CN" altLang="en-US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参考聚宽公开</a:t>
            </a: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量化研究平台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的模拟交易微信绑定通知功能。</a:t>
            </a:r>
            <a:endParaRPr lang="en-US" altLang="zh-CN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26" name="Rectangle 31"/>
          <p:cNvSpPr/>
          <p:nvPr>
            <p:custDataLst>
              <p:tags r:id="rId6"/>
            </p:custDataLst>
          </p:nvPr>
        </p:nvSpPr>
        <p:spPr bwMode="auto">
          <a:xfrm>
            <a:off x="7429525" y="2001551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3.3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交易微信通知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30" name="Icon-Discussion"/>
          <p:cNvSpPr>
            <a:spLocks noEditPoints="1"/>
          </p:cNvSpPr>
          <p:nvPr/>
        </p:nvSpPr>
        <p:spPr bwMode="auto">
          <a:xfrm>
            <a:off x="7961381" y="2480313"/>
            <a:ext cx="856527" cy="622576"/>
          </a:xfrm>
          <a:custGeom>
            <a:avLst/>
            <a:gdLst>
              <a:gd name="T0" fmla="*/ 2828 w 4455"/>
              <a:gd name="T1" fmla="*/ 1011 h 2948"/>
              <a:gd name="T2" fmla="*/ 1414 w 4455"/>
              <a:gd name="T3" fmla="*/ 0 h 2948"/>
              <a:gd name="T4" fmla="*/ 0 w 4455"/>
              <a:gd name="T5" fmla="*/ 1011 h 2948"/>
              <a:gd name="T6" fmla="*/ 1179 w 4455"/>
              <a:gd name="T7" fmla="*/ 2008 h 2948"/>
              <a:gd name="T8" fmla="*/ 974 w 4455"/>
              <a:gd name="T9" fmla="*/ 2595 h 2948"/>
              <a:gd name="T10" fmla="*/ 1630 w 4455"/>
              <a:gd name="T11" fmla="*/ 2010 h 2948"/>
              <a:gd name="T12" fmla="*/ 2828 w 4455"/>
              <a:gd name="T13" fmla="*/ 1011 h 2948"/>
              <a:gd name="T14" fmla="*/ 723 w 4455"/>
              <a:gd name="T15" fmla="*/ 1206 h 2948"/>
              <a:gd name="T16" fmla="*/ 529 w 4455"/>
              <a:gd name="T17" fmla="*/ 1012 h 2948"/>
              <a:gd name="T18" fmla="*/ 723 w 4455"/>
              <a:gd name="T19" fmla="*/ 818 h 2948"/>
              <a:gd name="T20" fmla="*/ 917 w 4455"/>
              <a:gd name="T21" fmla="*/ 1012 h 2948"/>
              <a:gd name="T22" fmla="*/ 723 w 4455"/>
              <a:gd name="T23" fmla="*/ 1206 h 2948"/>
              <a:gd name="T24" fmla="*/ 1419 w 4455"/>
              <a:gd name="T25" fmla="*/ 1206 h 2948"/>
              <a:gd name="T26" fmla="*/ 1225 w 4455"/>
              <a:gd name="T27" fmla="*/ 1012 h 2948"/>
              <a:gd name="T28" fmla="*/ 1419 w 4455"/>
              <a:gd name="T29" fmla="*/ 818 h 2948"/>
              <a:gd name="T30" fmla="*/ 1613 w 4455"/>
              <a:gd name="T31" fmla="*/ 1012 h 2948"/>
              <a:gd name="T32" fmla="*/ 1419 w 4455"/>
              <a:gd name="T33" fmla="*/ 1206 h 2948"/>
              <a:gd name="T34" fmla="*/ 2115 w 4455"/>
              <a:gd name="T35" fmla="*/ 1206 h 2948"/>
              <a:gd name="T36" fmla="*/ 1921 w 4455"/>
              <a:gd name="T37" fmla="*/ 1012 h 2948"/>
              <a:gd name="T38" fmla="*/ 2115 w 4455"/>
              <a:gd name="T39" fmla="*/ 818 h 2948"/>
              <a:gd name="T40" fmla="*/ 2309 w 4455"/>
              <a:gd name="T41" fmla="*/ 1012 h 2948"/>
              <a:gd name="T42" fmla="*/ 2115 w 4455"/>
              <a:gd name="T43" fmla="*/ 1206 h 2948"/>
              <a:gd name="T44" fmla="*/ 3402 w 4455"/>
              <a:gd name="T45" fmla="*/ 2360 h 2948"/>
              <a:gd name="T46" fmla="*/ 3608 w 4455"/>
              <a:gd name="T47" fmla="*/ 2948 h 2948"/>
              <a:gd name="T48" fmla="*/ 2951 w 4455"/>
              <a:gd name="T49" fmla="*/ 2362 h 2948"/>
              <a:gd name="T50" fmla="*/ 2260 w 4455"/>
              <a:gd name="T51" fmla="*/ 2102 h 2948"/>
              <a:gd name="T52" fmla="*/ 3149 w 4455"/>
              <a:gd name="T53" fmla="*/ 1022 h 2948"/>
              <a:gd name="T54" fmla="*/ 3016 w 4455"/>
              <a:gd name="T55" fmla="*/ 547 h 2948"/>
              <a:gd name="T56" fmla="*/ 3168 w 4455"/>
              <a:gd name="T57" fmla="*/ 535 h 2948"/>
              <a:gd name="T58" fmla="*/ 4455 w 4455"/>
              <a:gd name="T59" fmla="*/ 1456 h 2948"/>
              <a:gd name="T60" fmla="*/ 3402 w 4455"/>
              <a:gd name="T61" fmla="*/ 2360 h 2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455" h="2948">
                <a:moveTo>
                  <a:pt x="2828" y="1011"/>
                </a:moveTo>
                <a:cubicBezTo>
                  <a:pt x="2828" y="453"/>
                  <a:pt x="2194" y="0"/>
                  <a:pt x="1414" y="0"/>
                </a:cubicBezTo>
                <a:cubicBezTo>
                  <a:pt x="633" y="0"/>
                  <a:pt x="0" y="453"/>
                  <a:pt x="0" y="1011"/>
                </a:cubicBezTo>
                <a:cubicBezTo>
                  <a:pt x="0" y="1513"/>
                  <a:pt x="510" y="1928"/>
                  <a:pt x="1179" y="2008"/>
                </a:cubicBezTo>
                <a:cubicBezTo>
                  <a:pt x="1173" y="2254"/>
                  <a:pt x="1094" y="2469"/>
                  <a:pt x="974" y="2595"/>
                </a:cubicBezTo>
                <a:cubicBezTo>
                  <a:pt x="1304" y="2538"/>
                  <a:pt x="1563" y="2305"/>
                  <a:pt x="1630" y="2010"/>
                </a:cubicBezTo>
                <a:cubicBezTo>
                  <a:pt x="2307" y="1935"/>
                  <a:pt x="2828" y="1517"/>
                  <a:pt x="2828" y="1011"/>
                </a:cubicBezTo>
                <a:close/>
                <a:moveTo>
                  <a:pt x="723" y="1206"/>
                </a:moveTo>
                <a:cubicBezTo>
                  <a:pt x="616" y="1206"/>
                  <a:pt x="529" y="1119"/>
                  <a:pt x="529" y="1012"/>
                </a:cubicBezTo>
                <a:cubicBezTo>
                  <a:pt x="529" y="905"/>
                  <a:pt x="616" y="818"/>
                  <a:pt x="723" y="818"/>
                </a:cubicBezTo>
                <a:cubicBezTo>
                  <a:pt x="830" y="818"/>
                  <a:pt x="917" y="905"/>
                  <a:pt x="917" y="1012"/>
                </a:cubicBezTo>
                <a:cubicBezTo>
                  <a:pt x="917" y="1119"/>
                  <a:pt x="830" y="1206"/>
                  <a:pt x="723" y="1206"/>
                </a:cubicBezTo>
                <a:close/>
                <a:moveTo>
                  <a:pt x="1419" y="1206"/>
                </a:moveTo>
                <a:cubicBezTo>
                  <a:pt x="1312" y="1206"/>
                  <a:pt x="1225" y="1119"/>
                  <a:pt x="1225" y="1012"/>
                </a:cubicBezTo>
                <a:cubicBezTo>
                  <a:pt x="1225" y="905"/>
                  <a:pt x="1312" y="818"/>
                  <a:pt x="1419" y="818"/>
                </a:cubicBezTo>
                <a:cubicBezTo>
                  <a:pt x="1526" y="818"/>
                  <a:pt x="1613" y="905"/>
                  <a:pt x="1613" y="1012"/>
                </a:cubicBezTo>
                <a:cubicBezTo>
                  <a:pt x="1613" y="1119"/>
                  <a:pt x="1526" y="1206"/>
                  <a:pt x="1419" y="1206"/>
                </a:cubicBezTo>
                <a:close/>
                <a:moveTo>
                  <a:pt x="2115" y="1206"/>
                </a:moveTo>
                <a:cubicBezTo>
                  <a:pt x="2007" y="1206"/>
                  <a:pt x="1921" y="1119"/>
                  <a:pt x="1921" y="1012"/>
                </a:cubicBezTo>
                <a:cubicBezTo>
                  <a:pt x="1921" y="905"/>
                  <a:pt x="2007" y="818"/>
                  <a:pt x="2115" y="818"/>
                </a:cubicBezTo>
                <a:cubicBezTo>
                  <a:pt x="2222" y="818"/>
                  <a:pt x="2309" y="905"/>
                  <a:pt x="2309" y="1012"/>
                </a:cubicBezTo>
                <a:cubicBezTo>
                  <a:pt x="2309" y="1119"/>
                  <a:pt x="2222" y="1206"/>
                  <a:pt x="2115" y="1206"/>
                </a:cubicBezTo>
                <a:close/>
                <a:moveTo>
                  <a:pt x="3402" y="2360"/>
                </a:moveTo>
                <a:cubicBezTo>
                  <a:pt x="3408" y="2607"/>
                  <a:pt x="3487" y="2822"/>
                  <a:pt x="3608" y="2948"/>
                </a:cubicBezTo>
                <a:cubicBezTo>
                  <a:pt x="3277" y="2891"/>
                  <a:pt x="3018" y="2658"/>
                  <a:pt x="2951" y="2362"/>
                </a:cubicBezTo>
                <a:cubicBezTo>
                  <a:pt x="2682" y="2329"/>
                  <a:pt x="2445" y="2234"/>
                  <a:pt x="2260" y="2102"/>
                </a:cubicBezTo>
                <a:cubicBezTo>
                  <a:pt x="2790" y="1891"/>
                  <a:pt x="3149" y="1487"/>
                  <a:pt x="3149" y="1022"/>
                </a:cubicBezTo>
                <a:cubicBezTo>
                  <a:pt x="3149" y="853"/>
                  <a:pt x="3102" y="693"/>
                  <a:pt x="3016" y="547"/>
                </a:cubicBezTo>
                <a:cubicBezTo>
                  <a:pt x="3067" y="542"/>
                  <a:pt x="3116" y="535"/>
                  <a:pt x="3168" y="535"/>
                </a:cubicBezTo>
                <a:cubicBezTo>
                  <a:pt x="3878" y="535"/>
                  <a:pt x="4455" y="947"/>
                  <a:pt x="4455" y="1456"/>
                </a:cubicBezTo>
                <a:cubicBezTo>
                  <a:pt x="4455" y="1907"/>
                  <a:pt x="4001" y="2281"/>
                  <a:pt x="3402" y="236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"/>
              <a:cs typeface=""/>
            </a:endParaRPr>
          </a:p>
        </p:txBody>
      </p:sp>
      <p:pic>
        <p:nvPicPr>
          <p:cNvPr id="32" name="Picture 3" descr="\\MAGNUM\Projects\Microsoft\Cloud Power FY12\Design\Icons\PNGs\Scalable_Elastic_4.png"/>
          <p:cNvPicPr>
            <a:picLocks noChangeAspect="1" noChangeArrowheads="1"/>
          </p:cNvPicPr>
          <p:nvPr/>
        </p:nvPicPr>
        <p:blipFill>
          <a:blip r:embed="rId10" cstate="print">
            <a:lum bright="100000"/>
          </a:blip>
          <a:srcRect/>
          <a:stretch>
            <a:fillRect/>
          </a:stretch>
        </p:blipFill>
        <p:spPr bwMode="auto">
          <a:xfrm>
            <a:off x="3129729" y="2346421"/>
            <a:ext cx="890592" cy="890360"/>
          </a:xfrm>
          <a:prstGeom prst="rect">
            <a:avLst/>
          </a:prstGeom>
          <a:noFill/>
        </p:spPr>
      </p:pic>
      <p:sp>
        <p:nvSpPr>
          <p:cNvPr id="34" name="Freeform 29"/>
          <p:cNvSpPr>
            <a:spLocks noEditPoints="1"/>
          </p:cNvSpPr>
          <p:nvPr/>
        </p:nvSpPr>
        <p:spPr bwMode="auto">
          <a:xfrm>
            <a:off x="5626493" y="2473091"/>
            <a:ext cx="711684" cy="629798"/>
          </a:xfrm>
          <a:custGeom>
            <a:avLst/>
            <a:gdLst>
              <a:gd name="T0" fmla="*/ 10 w 548"/>
              <a:gd name="T1" fmla="*/ 485 h 485"/>
              <a:gd name="T2" fmla="*/ 528 w 548"/>
              <a:gd name="T3" fmla="*/ 338 h 485"/>
              <a:gd name="T4" fmla="*/ 476 w 548"/>
              <a:gd name="T5" fmla="*/ 271 h 485"/>
              <a:gd name="T6" fmla="*/ 410 w 548"/>
              <a:gd name="T7" fmla="*/ 213 h 485"/>
              <a:gd name="T8" fmla="*/ 410 w 548"/>
              <a:gd name="T9" fmla="*/ 279 h 485"/>
              <a:gd name="T10" fmla="*/ 402 w 548"/>
              <a:gd name="T11" fmla="*/ 338 h 485"/>
              <a:gd name="T12" fmla="*/ 336 w 548"/>
              <a:gd name="T13" fmla="*/ 404 h 485"/>
              <a:gd name="T14" fmla="*/ 212 w 548"/>
              <a:gd name="T15" fmla="*/ 404 h 485"/>
              <a:gd name="T16" fmla="*/ 146 w 548"/>
              <a:gd name="T17" fmla="*/ 346 h 485"/>
              <a:gd name="T18" fmla="*/ 146 w 548"/>
              <a:gd name="T19" fmla="*/ 412 h 485"/>
              <a:gd name="T20" fmla="*/ 212 w 548"/>
              <a:gd name="T21" fmla="*/ 412 h 485"/>
              <a:gd name="T22" fmla="*/ 344 w 548"/>
              <a:gd name="T23" fmla="*/ 412 h 485"/>
              <a:gd name="T24" fmla="*/ 468 w 548"/>
              <a:gd name="T25" fmla="*/ 412 h 485"/>
              <a:gd name="T26" fmla="*/ 468 w 548"/>
              <a:gd name="T27" fmla="*/ 346 h 485"/>
              <a:gd name="T28" fmla="*/ 476 w 548"/>
              <a:gd name="T29" fmla="*/ 404 h 485"/>
              <a:gd name="T30" fmla="*/ 270 w 548"/>
              <a:gd name="T31" fmla="*/ 72 h 485"/>
              <a:gd name="T32" fmla="*/ 204 w 548"/>
              <a:gd name="T33" fmla="*/ 72 h 485"/>
              <a:gd name="T34" fmla="*/ 204 w 548"/>
              <a:gd name="T35" fmla="*/ 138 h 485"/>
              <a:gd name="T36" fmla="*/ 80 w 548"/>
              <a:gd name="T37" fmla="*/ 20 h 485"/>
              <a:gd name="T38" fmla="*/ 80 w 548"/>
              <a:gd name="T39" fmla="*/ 80 h 485"/>
              <a:gd name="T40" fmla="*/ 72 w 548"/>
              <a:gd name="T41" fmla="*/ 138 h 485"/>
              <a:gd name="T42" fmla="*/ 20 w 548"/>
              <a:gd name="T43" fmla="*/ 279 h 485"/>
              <a:gd name="T44" fmla="*/ 20 w 548"/>
              <a:gd name="T45" fmla="*/ 213 h 485"/>
              <a:gd name="T46" fmla="*/ 138 w 548"/>
              <a:gd name="T47" fmla="*/ 271 h 485"/>
              <a:gd name="T48" fmla="*/ 138 w 548"/>
              <a:gd name="T49" fmla="*/ 205 h 485"/>
              <a:gd name="T50" fmla="*/ 146 w 548"/>
              <a:gd name="T51" fmla="*/ 146 h 485"/>
              <a:gd name="T52" fmla="*/ 212 w 548"/>
              <a:gd name="T53" fmla="*/ 138 h 485"/>
              <a:gd name="T54" fmla="*/ 336 w 548"/>
              <a:gd name="T55" fmla="*/ 80 h 485"/>
              <a:gd name="T56" fmla="*/ 402 w 548"/>
              <a:gd name="T57" fmla="*/ 138 h 485"/>
              <a:gd name="T58" fmla="*/ 402 w 548"/>
              <a:gd name="T59" fmla="*/ 72 h 485"/>
              <a:gd name="T60" fmla="*/ 72 w 548"/>
              <a:gd name="T61" fmla="*/ 20 h 485"/>
              <a:gd name="T62" fmla="*/ 389 w 548"/>
              <a:gd name="T63" fmla="*/ 209 h 485"/>
              <a:gd name="T64" fmla="*/ 505 w 548"/>
              <a:gd name="T65" fmla="*/ 76 h 485"/>
              <a:gd name="T66" fmla="*/ 504 w 548"/>
              <a:gd name="T67" fmla="*/ 70 h 485"/>
              <a:gd name="T68" fmla="*/ 500 w 548"/>
              <a:gd name="T69" fmla="*/ 66 h 485"/>
              <a:gd name="T70" fmla="*/ 493 w 548"/>
              <a:gd name="T71" fmla="*/ 64 h 485"/>
              <a:gd name="T72" fmla="*/ 429 w 548"/>
              <a:gd name="T73" fmla="*/ 90 h 485"/>
              <a:gd name="T74" fmla="*/ 249 w 548"/>
              <a:gd name="T75" fmla="*/ 278 h 485"/>
              <a:gd name="T76" fmla="*/ 41 w 548"/>
              <a:gd name="T77" fmla="*/ 412 h 485"/>
              <a:gd name="T78" fmla="*/ 80 w 548"/>
              <a:gd name="T79" fmla="*/ 364 h 485"/>
              <a:gd name="T80" fmla="*/ 138 w 548"/>
              <a:gd name="T81" fmla="*/ 279 h 485"/>
              <a:gd name="T82" fmla="*/ 146 w 548"/>
              <a:gd name="T83" fmla="*/ 271 h 485"/>
              <a:gd name="T84" fmla="*/ 270 w 548"/>
              <a:gd name="T85" fmla="*/ 213 h 485"/>
              <a:gd name="T86" fmla="*/ 278 w 548"/>
              <a:gd name="T87" fmla="*/ 205 h 485"/>
              <a:gd name="T88" fmla="*/ 344 w 548"/>
              <a:gd name="T89" fmla="*/ 146 h 485"/>
              <a:gd name="T90" fmla="*/ 418 w 548"/>
              <a:gd name="T91" fmla="*/ 138 h 485"/>
              <a:gd name="T92" fmla="*/ 410 w 548"/>
              <a:gd name="T93" fmla="*/ 20 h 485"/>
              <a:gd name="T94" fmla="*/ 528 w 548"/>
              <a:gd name="T95" fmla="*/ 72 h 485"/>
              <a:gd name="T96" fmla="*/ 528 w 548"/>
              <a:gd name="T97" fmla="*/ 80 h 485"/>
              <a:gd name="T98" fmla="*/ 476 w 548"/>
              <a:gd name="T99" fmla="*/ 205 h 485"/>
              <a:gd name="T100" fmla="*/ 468 w 548"/>
              <a:gd name="T101" fmla="*/ 205 h 485"/>
              <a:gd name="T102" fmla="*/ 344 w 548"/>
              <a:gd name="T103" fmla="*/ 218 h 485"/>
              <a:gd name="T104" fmla="*/ 336 w 548"/>
              <a:gd name="T105" fmla="*/ 338 h 485"/>
              <a:gd name="T106" fmla="*/ 212 w 548"/>
              <a:gd name="T107" fmla="*/ 293 h 485"/>
              <a:gd name="T108" fmla="*/ 99 w 548"/>
              <a:gd name="T109" fmla="*/ 404 h 485"/>
              <a:gd name="T110" fmla="*/ 72 w 548"/>
              <a:gd name="T111" fmla="*/ 438 h 485"/>
              <a:gd name="T112" fmla="*/ 528 w 548"/>
              <a:gd name="T113" fmla="*/ 412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8" h="485">
                <a:moveTo>
                  <a:pt x="538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465"/>
                  <a:pt x="0" y="465"/>
                  <a:pt x="0" y="465"/>
                </a:cubicBezTo>
                <a:cubicBezTo>
                  <a:pt x="0" y="475"/>
                  <a:pt x="0" y="475"/>
                  <a:pt x="0" y="475"/>
                </a:cubicBezTo>
                <a:cubicBezTo>
                  <a:pt x="0" y="480"/>
                  <a:pt x="4" y="485"/>
                  <a:pt x="10" y="485"/>
                </a:cubicBezTo>
                <a:cubicBezTo>
                  <a:pt x="35" y="485"/>
                  <a:pt x="35" y="485"/>
                  <a:pt x="35" y="485"/>
                </a:cubicBezTo>
                <a:cubicBezTo>
                  <a:pt x="538" y="485"/>
                  <a:pt x="538" y="485"/>
                  <a:pt x="538" y="485"/>
                </a:cubicBezTo>
                <a:cubicBezTo>
                  <a:pt x="544" y="485"/>
                  <a:pt x="548" y="480"/>
                  <a:pt x="548" y="475"/>
                </a:cubicBezTo>
                <a:cubicBezTo>
                  <a:pt x="548" y="10"/>
                  <a:pt x="548" y="10"/>
                  <a:pt x="548" y="10"/>
                </a:cubicBezTo>
                <a:cubicBezTo>
                  <a:pt x="548" y="4"/>
                  <a:pt x="544" y="0"/>
                  <a:pt x="538" y="0"/>
                </a:cubicBezTo>
                <a:close/>
                <a:moveTo>
                  <a:pt x="528" y="338"/>
                </a:moveTo>
                <a:cubicBezTo>
                  <a:pt x="476" y="338"/>
                  <a:pt x="476" y="338"/>
                  <a:pt x="476" y="338"/>
                </a:cubicBezTo>
                <a:cubicBezTo>
                  <a:pt x="476" y="279"/>
                  <a:pt x="476" y="279"/>
                  <a:pt x="476" y="279"/>
                </a:cubicBezTo>
                <a:cubicBezTo>
                  <a:pt x="528" y="279"/>
                  <a:pt x="528" y="279"/>
                  <a:pt x="528" y="279"/>
                </a:cubicBezTo>
                <a:cubicBezTo>
                  <a:pt x="528" y="299"/>
                  <a:pt x="528" y="319"/>
                  <a:pt x="528" y="338"/>
                </a:cubicBezTo>
                <a:close/>
                <a:moveTo>
                  <a:pt x="528" y="271"/>
                </a:moveTo>
                <a:cubicBezTo>
                  <a:pt x="476" y="271"/>
                  <a:pt x="476" y="271"/>
                  <a:pt x="476" y="271"/>
                </a:cubicBezTo>
                <a:cubicBezTo>
                  <a:pt x="476" y="213"/>
                  <a:pt x="476" y="213"/>
                  <a:pt x="476" y="213"/>
                </a:cubicBezTo>
                <a:cubicBezTo>
                  <a:pt x="528" y="213"/>
                  <a:pt x="528" y="213"/>
                  <a:pt x="528" y="213"/>
                </a:cubicBezTo>
                <a:cubicBezTo>
                  <a:pt x="528" y="232"/>
                  <a:pt x="528" y="252"/>
                  <a:pt x="528" y="271"/>
                </a:cubicBezTo>
                <a:close/>
                <a:moveTo>
                  <a:pt x="468" y="271"/>
                </a:moveTo>
                <a:cubicBezTo>
                  <a:pt x="410" y="271"/>
                  <a:pt x="410" y="271"/>
                  <a:pt x="410" y="271"/>
                </a:cubicBezTo>
                <a:cubicBezTo>
                  <a:pt x="410" y="213"/>
                  <a:pt x="410" y="213"/>
                  <a:pt x="410" y="213"/>
                </a:cubicBezTo>
                <a:cubicBezTo>
                  <a:pt x="468" y="213"/>
                  <a:pt x="468" y="213"/>
                  <a:pt x="468" y="213"/>
                </a:cubicBezTo>
                <a:lnTo>
                  <a:pt x="468" y="271"/>
                </a:lnTo>
                <a:close/>
                <a:moveTo>
                  <a:pt x="468" y="279"/>
                </a:moveTo>
                <a:cubicBezTo>
                  <a:pt x="468" y="338"/>
                  <a:pt x="468" y="338"/>
                  <a:pt x="468" y="338"/>
                </a:cubicBezTo>
                <a:cubicBezTo>
                  <a:pt x="410" y="338"/>
                  <a:pt x="410" y="338"/>
                  <a:pt x="410" y="338"/>
                </a:cubicBezTo>
                <a:cubicBezTo>
                  <a:pt x="410" y="279"/>
                  <a:pt x="410" y="279"/>
                  <a:pt x="410" y="279"/>
                </a:cubicBezTo>
                <a:lnTo>
                  <a:pt x="468" y="279"/>
                </a:lnTo>
                <a:close/>
                <a:moveTo>
                  <a:pt x="402" y="338"/>
                </a:moveTo>
                <a:cubicBezTo>
                  <a:pt x="344" y="338"/>
                  <a:pt x="344" y="338"/>
                  <a:pt x="344" y="338"/>
                </a:cubicBezTo>
                <a:cubicBezTo>
                  <a:pt x="344" y="279"/>
                  <a:pt x="344" y="279"/>
                  <a:pt x="344" y="279"/>
                </a:cubicBezTo>
                <a:cubicBezTo>
                  <a:pt x="402" y="279"/>
                  <a:pt x="402" y="279"/>
                  <a:pt x="402" y="279"/>
                </a:cubicBezTo>
                <a:lnTo>
                  <a:pt x="402" y="338"/>
                </a:lnTo>
                <a:close/>
                <a:moveTo>
                  <a:pt x="402" y="346"/>
                </a:moveTo>
                <a:cubicBezTo>
                  <a:pt x="402" y="404"/>
                  <a:pt x="402" y="404"/>
                  <a:pt x="402" y="404"/>
                </a:cubicBezTo>
                <a:cubicBezTo>
                  <a:pt x="344" y="404"/>
                  <a:pt x="344" y="404"/>
                  <a:pt x="344" y="404"/>
                </a:cubicBezTo>
                <a:cubicBezTo>
                  <a:pt x="344" y="346"/>
                  <a:pt x="344" y="346"/>
                  <a:pt x="344" y="346"/>
                </a:cubicBezTo>
                <a:lnTo>
                  <a:pt x="402" y="346"/>
                </a:lnTo>
                <a:close/>
                <a:moveTo>
                  <a:pt x="336" y="404"/>
                </a:moveTo>
                <a:cubicBezTo>
                  <a:pt x="278" y="404"/>
                  <a:pt x="278" y="404"/>
                  <a:pt x="278" y="404"/>
                </a:cubicBezTo>
                <a:cubicBezTo>
                  <a:pt x="278" y="346"/>
                  <a:pt x="278" y="346"/>
                  <a:pt x="278" y="346"/>
                </a:cubicBezTo>
                <a:cubicBezTo>
                  <a:pt x="336" y="346"/>
                  <a:pt x="336" y="346"/>
                  <a:pt x="336" y="346"/>
                </a:cubicBezTo>
                <a:lnTo>
                  <a:pt x="336" y="404"/>
                </a:lnTo>
                <a:close/>
                <a:moveTo>
                  <a:pt x="270" y="404"/>
                </a:moveTo>
                <a:cubicBezTo>
                  <a:pt x="212" y="404"/>
                  <a:pt x="212" y="404"/>
                  <a:pt x="212" y="404"/>
                </a:cubicBezTo>
                <a:cubicBezTo>
                  <a:pt x="212" y="346"/>
                  <a:pt x="212" y="346"/>
                  <a:pt x="212" y="346"/>
                </a:cubicBezTo>
                <a:cubicBezTo>
                  <a:pt x="270" y="346"/>
                  <a:pt x="270" y="346"/>
                  <a:pt x="270" y="346"/>
                </a:cubicBezTo>
                <a:lnTo>
                  <a:pt x="270" y="404"/>
                </a:lnTo>
                <a:close/>
                <a:moveTo>
                  <a:pt x="204" y="404"/>
                </a:moveTo>
                <a:cubicBezTo>
                  <a:pt x="146" y="404"/>
                  <a:pt x="146" y="404"/>
                  <a:pt x="146" y="404"/>
                </a:cubicBezTo>
                <a:cubicBezTo>
                  <a:pt x="146" y="346"/>
                  <a:pt x="146" y="346"/>
                  <a:pt x="146" y="346"/>
                </a:cubicBezTo>
                <a:cubicBezTo>
                  <a:pt x="204" y="346"/>
                  <a:pt x="204" y="346"/>
                  <a:pt x="204" y="346"/>
                </a:cubicBezTo>
                <a:lnTo>
                  <a:pt x="204" y="404"/>
                </a:lnTo>
                <a:close/>
                <a:moveTo>
                  <a:pt x="204" y="412"/>
                </a:moveTo>
                <a:cubicBezTo>
                  <a:pt x="204" y="465"/>
                  <a:pt x="204" y="465"/>
                  <a:pt x="204" y="465"/>
                </a:cubicBezTo>
                <a:cubicBezTo>
                  <a:pt x="184" y="465"/>
                  <a:pt x="164" y="465"/>
                  <a:pt x="146" y="465"/>
                </a:cubicBezTo>
                <a:cubicBezTo>
                  <a:pt x="146" y="412"/>
                  <a:pt x="146" y="412"/>
                  <a:pt x="146" y="412"/>
                </a:cubicBezTo>
                <a:lnTo>
                  <a:pt x="204" y="412"/>
                </a:lnTo>
                <a:close/>
                <a:moveTo>
                  <a:pt x="212" y="412"/>
                </a:moveTo>
                <a:cubicBezTo>
                  <a:pt x="270" y="412"/>
                  <a:pt x="270" y="412"/>
                  <a:pt x="270" y="412"/>
                </a:cubicBezTo>
                <a:cubicBezTo>
                  <a:pt x="270" y="465"/>
                  <a:pt x="270" y="465"/>
                  <a:pt x="270" y="465"/>
                </a:cubicBezTo>
                <a:cubicBezTo>
                  <a:pt x="251" y="465"/>
                  <a:pt x="231" y="465"/>
                  <a:pt x="212" y="465"/>
                </a:cubicBezTo>
                <a:lnTo>
                  <a:pt x="212" y="412"/>
                </a:lnTo>
                <a:close/>
                <a:moveTo>
                  <a:pt x="278" y="412"/>
                </a:moveTo>
                <a:cubicBezTo>
                  <a:pt x="336" y="412"/>
                  <a:pt x="336" y="412"/>
                  <a:pt x="336" y="412"/>
                </a:cubicBezTo>
                <a:cubicBezTo>
                  <a:pt x="336" y="465"/>
                  <a:pt x="336" y="465"/>
                  <a:pt x="336" y="465"/>
                </a:cubicBezTo>
                <a:cubicBezTo>
                  <a:pt x="317" y="465"/>
                  <a:pt x="298" y="465"/>
                  <a:pt x="278" y="465"/>
                </a:cubicBezTo>
                <a:lnTo>
                  <a:pt x="278" y="412"/>
                </a:lnTo>
                <a:close/>
                <a:moveTo>
                  <a:pt x="344" y="412"/>
                </a:moveTo>
                <a:cubicBezTo>
                  <a:pt x="402" y="412"/>
                  <a:pt x="402" y="412"/>
                  <a:pt x="402" y="412"/>
                </a:cubicBezTo>
                <a:cubicBezTo>
                  <a:pt x="402" y="465"/>
                  <a:pt x="402" y="465"/>
                  <a:pt x="402" y="465"/>
                </a:cubicBezTo>
                <a:cubicBezTo>
                  <a:pt x="384" y="465"/>
                  <a:pt x="364" y="465"/>
                  <a:pt x="344" y="465"/>
                </a:cubicBezTo>
                <a:lnTo>
                  <a:pt x="344" y="412"/>
                </a:lnTo>
                <a:close/>
                <a:moveTo>
                  <a:pt x="410" y="412"/>
                </a:moveTo>
                <a:cubicBezTo>
                  <a:pt x="468" y="412"/>
                  <a:pt x="468" y="412"/>
                  <a:pt x="468" y="412"/>
                </a:cubicBezTo>
                <a:cubicBezTo>
                  <a:pt x="468" y="465"/>
                  <a:pt x="468" y="465"/>
                  <a:pt x="468" y="465"/>
                </a:cubicBezTo>
                <a:cubicBezTo>
                  <a:pt x="452" y="465"/>
                  <a:pt x="432" y="465"/>
                  <a:pt x="410" y="465"/>
                </a:cubicBezTo>
                <a:lnTo>
                  <a:pt x="410" y="412"/>
                </a:lnTo>
                <a:close/>
                <a:moveTo>
                  <a:pt x="410" y="404"/>
                </a:moveTo>
                <a:cubicBezTo>
                  <a:pt x="410" y="346"/>
                  <a:pt x="410" y="346"/>
                  <a:pt x="410" y="346"/>
                </a:cubicBezTo>
                <a:cubicBezTo>
                  <a:pt x="468" y="346"/>
                  <a:pt x="468" y="346"/>
                  <a:pt x="468" y="346"/>
                </a:cubicBezTo>
                <a:cubicBezTo>
                  <a:pt x="468" y="404"/>
                  <a:pt x="468" y="404"/>
                  <a:pt x="468" y="404"/>
                </a:cubicBezTo>
                <a:lnTo>
                  <a:pt x="410" y="404"/>
                </a:lnTo>
                <a:close/>
                <a:moveTo>
                  <a:pt x="476" y="346"/>
                </a:moveTo>
                <a:cubicBezTo>
                  <a:pt x="528" y="346"/>
                  <a:pt x="528" y="346"/>
                  <a:pt x="528" y="346"/>
                </a:cubicBezTo>
                <a:cubicBezTo>
                  <a:pt x="528" y="367"/>
                  <a:pt x="528" y="387"/>
                  <a:pt x="528" y="404"/>
                </a:cubicBezTo>
                <a:cubicBezTo>
                  <a:pt x="476" y="404"/>
                  <a:pt x="476" y="404"/>
                  <a:pt x="476" y="404"/>
                </a:cubicBezTo>
                <a:lnTo>
                  <a:pt x="476" y="346"/>
                </a:lnTo>
                <a:close/>
                <a:moveTo>
                  <a:pt x="270" y="72"/>
                </a:moveTo>
                <a:cubicBezTo>
                  <a:pt x="212" y="72"/>
                  <a:pt x="212" y="72"/>
                  <a:pt x="212" y="72"/>
                </a:cubicBezTo>
                <a:cubicBezTo>
                  <a:pt x="212" y="20"/>
                  <a:pt x="212" y="20"/>
                  <a:pt x="212" y="20"/>
                </a:cubicBezTo>
                <a:cubicBezTo>
                  <a:pt x="231" y="20"/>
                  <a:pt x="251" y="20"/>
                  <a:pt x="270" y="20"/>
                </a:cubicBezTo>
                <a:lnTo>
                  <a:pt x="270" y="72"/>
                </a:lnTo>
                <a:close/>
                <a:moveTo>
                  <a:pt x="278" y="20"/>
                </a:moveTo>
                <a:cubicBezTo>
                  <a:pt x="298" y="20"/>
                  <a:pt x="317" y="20"/>
                  <a:pt x="336" y="20"/>
                </a:cubicBezTo>
                <a:cubicBezTo>
                  <a:pt x="336" y="72"/>
                  <a:pt x="336" y="72"/>
                  <a:pt x="336" y="72"/>
                </a:cubicBezTo>
                <a:cubicBezTo>
                  <a:pt x="278" y="72"/>
                  <a:pt x="278" y="72"/>
                  <a:pt x="278" y="72"/>
                </a:cubicBezTo>
                <a:lnTo>
                  <a:pt x="278" y="20"/>
                </a:lnTo>
                <a:close/>
                <a:moveTo>
                  <a:pt x="204" y="72"/>
                </a:moveTo>
                <a:cubicBezTo>
                  <a:pt x="146" y="72"/>
                  <a:pt x="146" y="72"/>
                  <a:pt x="146" y="72"/>
                </a:cubicBezTo>
                <a:cubicBezTo>
                  <a:pt x="146" y="20"/>
                  <a:pt x="146" y="20"/>
                  <a:pt x="146" y="20"/>
                </a:cubicBezTo>
                <a:cubicBezTo>
                  <a:pt x="164" y="20"/>
                  <a:pt x="184" y="20"/>
                  <a:pt x="204" y="20"/>
                </a:cubicBezTo>
                <a:lnTo>
                  <a:pt x="204" y="72"/>
                </a:lnTo>
                <a:close/>
                <a:moveTo>
                  <a:pt x="204" y="80"/>
                </a:moveTo>
                <a:cubicBezTo>
                  <a:pt x="204" y="138"/>
                  <a:pt x="204" y="138"/>
                  <a:pt x="204" y="138"/>
                </a:cubicBezTo>
                <a:cubicBezTo>
                  <a:pt x="146" y="138"/>
                  <a:pt x="146" y="138"/>
                  <a:pt x="146" y="138"/>
                </a:cubicBezTo>
                <a:cubicBezTo>
                  <a:pt x="146" y="80"/>
                  <a:pt x="146" y="80"/>
                  <a:pt x="146" y="80"/>
                </a:cubicBezTo>
                <a:lnTo>
                  <a:pt x="204" y="80"/>
                </a:lnTo>
                <a:close/>
                <a:moveTo>
                  <a:pt x="138" y="72"/>
                </a:moveTo>
                <a:cubicBezTo>
                  <a:pt x="80" y="72"/>
                  <a:pt x="80" y="72"/>
                  <a:pt x="80" y="72"/>
                </a:cubicBezTo>
                <a:cubicBezTo>
                  <a:pt x="80" y="20"/>
                  <a:pt x="80" y="20"/>
                  <a:pt x="80" y="20"/>
                </a:cubicBezTo>
                <a:cubicBezTo>
                  <a:pt x="97" y="20"/>
                  <a:pt x="116" y="20"/>
                  <a:pt x="138" y="20"/>
                </a:cubicBezTo>
                <a:lnTo>
                  <a:pt x="138" y="72"/>
                </a:lnTo>
                <a:close/>
                <a:moveTo>
                  <a:pt x="138" y="80"/>
                </a:moveTo>
                <a:cubicBezTo>
                  <a:pt x="138" y="138"/>
                  <a:pt x="138" y="138"/>
                  <a:pt x="138" y="138"/>
                </a:cubicBezTo>
                <a:cubicBezTo>
                  <a:pt x="80" y="138"/>
                  <a:pt x="80" y="138"/>
                  <a:pt x="80" y="138"/>
                </a:cubicBezTo>
                <a:cubicBezTo>
                  <a:pt x="80" y="80"/>
                  <a:pt x="80" y="80"/>
                  <a:pt x="80" y="80"/>
                </a:cubicBezTo>
                <a:lnTo>
                  <a:pt x="138" y="80"/>
                </a:lnTo>
                <a:close/>
                <a:moveTo>
                  <a:pt x="72" y="138"/>
                </a:moveTo>
                <a:cubicBezTo>
                  <a:pt x="20" y="138"/>
                  <a:pt x="20" y="138"/>
                  <a:pt x="20" y="138"/>
                </a:cubicBezTo>
                <a:cubicBezTo>
                  <a:pt x="20" y="117"/>
                  <a:pt x="20" y="97"/>
                  <a:pt x="20" y="80"/>
                </a:cubicBezTo>
                <a:cubicBezTo>
                  <a:pt x="72" y="80"/>
                  <a:pt x="72" y="80"/>
                  <a:pt x="72" y="80"/>
                </a:cubicBezTo>
                <a:lnTo>
                  <a:pt x="72" y="138"/>
                </a:lnTo>
                <a:close/>
                <a:moveTo>
                  <a:pt x="20" y="146"/>
                </a:moveTo>
                <a:cubicBezTo>
                  <a:pt x="72" y="146"/>
                  <a:pt x="72" y="146"/>
                  <a:pt x="72" y="146"/>
                </a:cubicBezTo>
                <a:cubicBezTo>
                  <a:pt x="72" y="205"/>
                  <a:pt x="72" y="205"/>
                  <a:pt x="72" y="205"/>
                </a:cubicBezTo>
                <a:cubicBezTo>
                  <a:pt x="20" y="205"/>
                  <a:pt x="20" y="205"/>
                  <a:pt x="20" y="205"/>
                </a:cubicBezTo>
                <a:cubicBezTo>
                  <a:pt x="20" y="185"/>
                  <a:pt x="20" y="165"/>
                  <a:pt x="20" y="146"/>
                </a:cubicBezTo>
                <a:close/>
                <a:moveTo>
                  <a:pt x="20" y="279"/>
                </a:moveTo>
                <a:cubicBezTo>
                  <a:pt x="72" y="279"/>
                  <a:pt x="72" y="279"/>
                  <a:pt x="72" y="279"/>
                </a:cubicBezTo>
                <a:cubicBezTo>
                  <a:pt x="72" y="338"/>
                  <a:pt x="72" y="338"/>
                  <a:pt x="72" y="338"/>
                </a:cubicBezTo>
                <a:cubicBezTo>
                  <a:pt x="20" y="338"/>
                  <a:pt x="20" y="338"/>
                  <a:pt x="20" y="338"/>
                </a:cubicBezTo>
                <a:cubicBezTo>
                  <a:pt x="20" y="319"/>
                  <a:pt x="20" y="299"/>
                  <a:pt x="20" y="279"/>
                </a:cubicBezTo>
                <a:close/>
                <a:moveTo>
                  <a:pt x="20" y="271"/>
                </a:moveTo>
                <a:cubicBezTo>
                  <a:pt x="20" y="252"/>
                  <a:pt x="20" y="232"/>
                  <a:pt x="20" y="213"/>
                </a:cubicBezTo>
                <a:cubicBezTo>
                  <a:pt x="72" y="213"/>
                  <a:pt x="72" y="213"/>
                  <a:pt x="72" y="213"/>
                </a:cubicBezTo>
                <a:cubicBezTo>
                  <a:pt x="72" y="271"/>
                  <a:pt x="72" y="271"/>
                  <a:pt x="72" y="271"/>
                </a:cubicBezTo>
                <a:lnTo>
                  <a:pt x="20" y="271"/>
                </a:lnTo>
                <a:close/>
                <a:moveTo>
                  <a:pt x="80" y="213"/>
                </a:moveTo>
                <a:cubicBezTo>
                  <a:pt x="138" y="213"/>
                  <a:pt x="138" y="213"/>
                  <a:pt x="138" y="213"/>
                </a:cubicBezTo>
                <a:cubicBezTo>
                  <a:pt x="138" y="271"/>
                  <a:pt x="138" y="271"/>
                  <a:pt x="138" y="271"/>
                </a:cubicBezTo>
                <a:cubicBezTo>
                  <a:pt x="80" y="271"/>
                  <a:pt x="80" y="271"/>
                  <a:pt x="80" y="271"/>
                </a:cubicBezTo>
                <a:lnTo>
                  <a:pt x="80" y="213"/>
                </a:lnTo>
                <a:close/>
                <a:moveTo>
                  <a:pt x="80" y="205"/>
                </a:moveTo>
                <a:cubicBezTo>
                  <a:pt x="80" y="146"/>
                  <a:pt x="80" y="146"/>
                  <a:pt x="80" y="146"/>
                </a:cubicBezTo>
                <a:cubicBezTo>
                  <a:pt x="138" y="146"/>
                  <a:pt x="138" y="146"/>
                  <a:pt x="138" y="146"/>
                </a:cubicBezTo>
                <a:cubicBezTo>
                  <a:pt x="138" y="205"/>
                  <a:pt x="138" y="205"/>
                  <a:pt x="138" y="205"/>
                </a:cubicBezTo>
                <a:lnTo>
                  <a:pt x="80" y="205"/>
                </a:lnTo>
                <a:close/>
                <a:moveTo>
                  <a:pt x="146" y="146"/>
                </a:moveTo>
                <a:cubicBezTo>
                  <a:pt x="204" y="146"/>
                  <a:pt x="204" y="146"/>
                  <a:pt x="204" y="146"/>
                </a:cubicBezTo>
                <a:cubicBezTo>
                  <a:pt x="204" y="205"/>
                  <a:pt x="204" y="205"/>
                  <a:pt x="204" y="205"/>
                </a:cubicBezTo>
                <a:cubicBezTo>
                  <a:pt x="146" y="205"/>
                  <a:pt x="146" y="205"/>
                  <a:pt x="146" y="205"/>
                </a:cubicBezTo>
                <a:lnTo>
                  <a:pt x="146" y="146"/>
                </a:lnTo>
                <a:close/>
                <a:moveTo>
                  <a:pt x="212" y="146"/>
                </a:moveTo>
                <a:cubicBezTo>
                  <a:pt x="270" y="146"/>
                  <a:pt x="270" y="146"/>
                  <a:pt x="270" y="146"/>
                </a:cubicBezTo>
                <a:cubicBezTo>
                  <a:pt x="270" y="205"/>
                  <a:pt x="270" y="205"/>
                  <a:pt x="270" y="205"/>
                </a:cubicBezTo>
                <a:cubicBezTo>
                  <a:pt x="212" y="205"/>
                  <a:pt x="212" y="205"/>
                  <a:pt x="212" y="205"/>
                </a:cubicBezTo>
                <a:lnTo>
                  <a:pt x="212" y="146"/>
                </a:lnTo>
                <a:close/>
                <a:moveTo>
                  <a:pt x="212" y="138"/>
                </a:moveTo>
                <a:cubicBezTo>
                  <a:pt x="212" y="80"/>
                  <a:pt x="212" y="80"/>
                  <a:pt x="212" y="80"/>
                </a:cubicBezTo>
                <a:cubicBezTo>
                  <a:pt x="270" y="80"/>
                  <a:pt x="270" y="80"/>
                  <a:pt x="270" y="80"/>
                </a:cubicBezTo>
                <a:cubicBezTo>
                  <a:pt x="270" y="138"/>
                  <a:pt x="270" y="138"/>
                  <a:pt x="270" y="138"/>
                </a:cubicBezTo>
                <a:lnTo>
                  <a:pt x="212" y="138"/>
                </a:lnTo>
                <a:close/>
                <a:moveTo>
                  <a:pt x="278" y="80"/>
                </a:moveTo>
                <a:cubicBezTo>
                  <a:pt x="336" y="80"/>
                  <a:pt x="336" y="80"/>
                  <a:pt x="336" y="80"/>
                </a:cubicBezTo>
                <a:cubicBezTo>
                  <a:pt x="336" y="138"/>
                  <a:pt x="336" y="138"/>
                  <a:pt x="336" y="138"/>
                </a:cubicBezTo>
                <a:cubicBezTo>
                  <a:pt x="278" y="138"/>
                  <a:pt x="278" y="138"/>
                  <a:pt x="278" y="138"/>
                </a:cubicBezTo>
                <a:lnTo>
                  <a:pt x="278" y="80"/>
                </a:lnTo>
                <a:close/>
                <a:moveTo>
                  <a:pt x="344" y="80"/>
                </a:moveTo>
                <a:cubicBezTo>
                  <a:pt x="402" y="80"/>
                  <a:pt x="402" y="80"/>
                  <a:pt x="402" y="80"/>
                </a:cubicBezTo>
                <a:cubicBezTo>
                  <a:pt x="402" y="138"/>
                  <a:pt x="402" y="138"/>
                  <a:pt x="402" y="138"/>
                </a:cubicBezTo>
                <a:cubicBezTo>
                  <a:pt x="344" y="138"/>
                  <a:pt x="344" y="138"/>
                  <a:pt x="344" y="138"/>
                </a:cubicBezTo>
                <a:lnTo>
                  <a:pt x="344" y="80"/>
                </a:lnTo>
                <a:close/>
                <a:moveTo>
                  <a:pt x="344" y="72"/>
                </a:moveTo>
                <a:cubicBezTo>
                  <a:pt x="344" y="20"/>
                  <a:pt x="344" y="20"/>
                  <a:pt x="344" y="20"/>
                </a:cubicBezTo>
                <a:cubicBezTo>
                  <a:pt x="364" y="20"/>
                  <a:pt x="384" y="20"/>
                  <a:pt x="402" y="20"/>
                </a:cubicBezTo>
                <a:cubicBezTo>
                  <a:pt x="402" y="72"/>
                  <a:pt x="402" y="72"/>
                  <a:pt x="402" y="72"/>
                </a:cubicBezTo>
                <a:lnTo>
                  <a:pt x="344" y="72"/>
                </a:lnTo>
                <a:close/>
                <a:moveTo>
                  <a:pt x="72" y="20"/>
                </a:moveTo>
                <a:cubicBezTo>
                  <a:pt x="72" y="72"/>
                  <a:pt x="72" y="72"/>
                  <a:pt x="72" y="72"/>
                </a:cubicBezTo>
                <a:cubicBezTo>
                  <a:pt x="20" y="72"/>
                  <a:pt x="20" y="72"/>
                  <a:pt x="20" y="72"/>
                </a:cubicBezTo>
                <a:cubicBezTo>
                  <a:pt x="20" y="43"/>
                  <a:pt x="20" y="23"/>
                  <a:pt x="20" y="20"/>
                </a:cubicBezTo>
                <a:cubicBezTo>
                  <a:pt x="23" y="20"/>
                  <a:pt x="43" y="20"/>
                  <a:pt x="72" y="20"/>
                </a:cubicBezTo>
                <a:close/>
                <a:moveTo>
                  <a:pt x="42" y="465"/>
                </a:moveTo>
                <a:cubicBezTo>
                  <a:pt x="74" y="424"/>
                  <a:pt x="183" y="286"/>
                  <a:pt x="193" y="273"/>
                </a:cubicBezTo>
                <a:cubicBezTo>
                  <a:pt x="206" y="281"/>
                  <a:pt x="246" y="304"/>
                  <a:pt x="246" y="304"/>
                </a:cubicBezTo>
                <a:cubicBezTo>
                  <a:pt x="251" y="307"/>
                  <a:pt x="257" y="306"/>
                  <a:pt x="261" y="301"/>
                </a:cubicBezTo>
                <a:cubicBezTo>
                  <a:pt x="261" y="301"/>
                  <a:pt x="347" y="203"/>
                  <a:pt x="359" y="189"/>
                </a:cubicBezTo>
                <a:cubicBezTo>
                  <a:pt x="369" y="196"/>
                  <a:pt x="389" y="209"/>
                  <a:pt x="389" y="209"/>
                </a:cubicBezTo>
                <a:cubicBezTo>
                  <a:pt x="394" y="212"/>
                  <a:pt x="401" y="211"/>
                  <a:pt x="405" y="206"/>
                </a:cubicBezTo>
                <a:cubicBezTo>
                  <a:pt x="481" y="110"/>
                  <a:pt x="481" y="110"/>
                  <a:pt x="481" y="110"/>
                </a:cubicBezTo>
                <a:cubicBezTo>
                  <a:pt x="481" y="133"/>
                  <a:pt x="481" y="133"/>
                  <a:pt x="481" y="133"/>
                </a:cubicBezTo>
                <a:cubicBezTo>
                  <a:pt x="481" y="139"/>
                  <a:pt x="487" y="145"/>
                  <a:pt x="493" y="145"/>
                </a:cubicBezTo>
                <a:cubicBezTo>
                  <a:pt x="500" y="145"/>
                  <a:pt x="505" y="139"/>
                  <a:pt x="505" y="133"/>
                </a:cubicBezTo>
                <a:cubicBezTo>
                  <a:pt x="505" y="76"/>
                  <a:pt x="505" y="76"/>
                  <a:pt x="505" y="76"/>
                </a:cubicBezTo>
                <a:cubicBezTo>
                  <a:pt x="505" y="76"/>
                  <a:pt x="505" y="76"/>
                  <a:pt x="505" y="76"/>
                </a:cubicBezTo>
                <a:cubicBezTo>
                  <a:pt x="505" y="75"/>
                  <a:pt x="505" y="74"/>
                  <a:pt x="505" y="74"/>
                </a:cubicBezTo>
                <a:cubicBezTo>
                  <a:pt x="505" y="74"/>
                  <a:pt x="505" y="74"/>
                  <a:pt x="505" y="73"/>
                </a:cubicBezTo>
                <a:cubicBezTo>
                  <a:pt x="505" y="73"/>
                  <a:pt x="505" y="72"/>
                  <a:pt x="505" y="71"/>
                </a:cubicBezTo>
                <a:cubicBezTo>
                  <a:pt x="504" y="71"/>
                  <a:pt x="504" y="71"/>
                  <a:pt x="504" y="71"/>
                </a:cubicBezTo>
                <a:cubicBezTo>
                  <a:pt x="504" y="71"/>
                  <a:pt x="504" y="70"/>
                  <a:pt x="504" y="70"/>
                </a:cubicBezTo>
                <a:cubicBezTo>
                  <a:pt x="504" y="70"/>
                  <a:pt x="503" y="69"/>
                  <a:pt x="503" y="69"/>
                </a:cubicBezTo>
                <a:cubicBezTo>
                  <a:pt x="503" y="69"/>
                  <a:pt x="503" y="69"/>
                  <a:pt x="503" y="69"/>
                </a:cubicBezTo>
                <a:cubicBezTo>
                  <a:pt x="503" y="68"/>
                  <a:pt x="502" y="68"/>
                  <a:pt x="502" y="68"/>
                </a:cubicBezTo>
                <a:cubicBezTo>
                  <a:pt x="502" y="68"/>
                  <a:pt x="502" y="67"/>
                  <a:pt x="502" y="67"/>
                </a:cubicBezTo>
                <a:cubicBezTo>
                  <a:pt x="501" y="67"/>
                  <a:pt x="501" y="67"/>
                  <a:pt x="500" y="66"/>
                </a:cubicBezTo>
                <a:cubicBezTo>
                  <a:pt x="500" y="66"/>
                  <a:pt x="500" y="66"/>
                  <a:pt x="500" y="66"/>
                </a:cubicBezTo>
                <a:cubicBezTo>
                  <a:pt x="499" y="66"/>
                  <a:pt x="499" y="65"/>
                  <a:pt x="498" y="65"/>
                </a:cubicBezTo>
                <a:cubicBezTo>
                  <a:pt x="498" y="65"/>
                  <a:pt x="498" y="65"/>
                  <a:pt x="498" y="65"/>
                </a:cubicBezTo>
                <a:cubicBezTo>
                  <a:pt x="497" y="65"/>
                  <a:pt x="497" y="64"/>
                  <a:pt x="496" y="64"/>
                </a:cubicBezTo>
                <a:cubicBezTo>
                  <a:pt x="496" y="64"/>
                  <a:pt x="496" y="64"/>
                  <a:pt x="495" y="64"/>
                </a:cubicBezTo>
                <a:cubicBezTo>
                  <a:pt x="495" y="64"/>
                  <a:pt x="494" y="64"/>
                  <a:pt x="494" y="64"/>
                </a:cubicBezTo>
                <a:cubicBezTo>
                  <a:pt x="494" y="64"/>
                  <a:pt x="494" y="64"/>
                  <a:pt x="493" y="64"/>
                </a:cubicBezTo>
                <a:cubicBezTo>
                  <a:pt x="493" y="64"/>
                  <a:pt x="493" y="64"/>
                  <a:pt x="493" y="64"/>
                </a:cubicBezTo>
                <a:cubicBezTo>
                  <a:pt x="493" y="64"/>
                  <a:pt x="492" y="64"/>
                  <a:pt x="491" y="64"/>
                </a:cubicBezTo>
                <a:cubicBezTo>
                  <a:pt x="491" y="64"/>
                  <a:pt x="491" y="64"/>
                  <a:pt x="491" y="64"/>
                </a:cubicBezTo>
                <a:cubicBezTo>
                  <a:pt x="491" y="64"/>
                  <a:pt x="491" y="64"/>
                  <a:pt x="491" y="64"/>
                </a:cubicBezTo>
                <a:cubicBezTo>
                  <a:pt x="438" y="76"/>
                  <a:pt x="438" y="76"/>
                  <a:pt x="438" y="76"/>
                </a:cubicBezTo>
                <a:cubicBezTo>
                  <a:pt x="432" y="77"/>
                  <a:pt x="428" y="84"/>
                  <a:pt x="429" y="90"/>
                </a:cubicBezTo>
                <a:cubicBezTo>
                  <a:pt x="431" y="97"/>
                  <a:pt x="437" y="101"/>
                  <a:pt x="443" y="99"/>
                </a:cubicBezTo>
                <a:cubicBezTo>
                  <a:pt x="443" y="99"/>
                  <a:pt x="454" y="97"/>
                  <a:pt x="463" y="95"/>
                </a:cubicBezTo>
                <a:cubicBezTo>
                  <a:pt x="439" y="125"/>
                  <a:pt x="402" y="171"/>
                  <a:pt x="393" y="183"/>
                </a:cubicBezTo>
                <a:cubicBezTo>
                  <a:pt x="382" y="176"/>
                  <a:pt x="363" y="163"/>
                  <a:pt x="363" y="163"/>
                </a:cubicBezTo>
                <a:cubicBezTo>
                  <a:pt x="358" y="160"/>
                  <a:pt x="352" y="161"/>
                  <a:pt x="348" y="165"/>
                </a:cubicBezTo>
                <a:cubicBezTo>
                  <a:pt x="348" y="165"/>
                  <a:pt x="261" y="265"/>
                  <a:pt x="249" y="278"/>
                </a:cubicBezTo>
                <a:cubicBezTo>
                  <a:pt x="236" y="271"/>
                  <a:pt x="196" y="247"/>
                  <a:pt x="196" y="247"/>
                </a:cubicBezTo>
                <a:cubicBezTo>
                  <a:pt x="191" y="244"/>
                  <a:pt x="184" y="245"/>
                  <a:pt x="181" y="250"/>
                </a:cubicBezTo>
                <a:cubicBezTo>
                  <a:pt x="20" y="454"/>
                  <a:pt x="20" y="454"/>
                  <a:pt x="20" y="454"/>
                </a:cubicBezTo>
                <a:cubicBezTo>
                  <a:pt x="20" y="450"/>
                  <a:pt x="20" y="445"/>
                  <a:pt x="20" y="439"/>
                </a:cubicBezTo>
                <a:cubicBezTo>
                  <a:pt x="20" y="432"/>
                  <a:pt x="20" y="423"/>
                  <a:pt x="20" y="412"/>
                </a:cubicBezTo>
                <a:cubicBezTo>
                  <a:pt x="41" y="412"/>
                  <a:pt x="41" y="412"/>
                  <a:pt x="41" y="412"/>
                </a:cubicBezTo>
                <a:cubicBezTo>
                  <a:pt x="48" y="404"/>
                  <a:pt x="48" y="404"/>
                  <a:pt x="48" y="404"/>
                </a:cubicBezTo>
                <a:cubicBezTo>
                  <a:pt x="20" y="404"/>
                  <a:pt x="20" y="404"/>
                  <a:pt x="20" y="404"/>
                </a:cubicBezTo>
                <a:cubicBezTo>
                  <a:pt x="20" y="387"/>
                  <a:pt x="20" y="367"/>
                  <a:pt x="20" y="346"/>
                </a:cubicBezTo>
                <a:cubicBezTo>
                  <a:pt x="72" y="346"/>
                  <a:pt x="72" y="346"/>
                  <a:pt x="72" y="346"/>
                </a:cubicBezTo>
                <a:cubicBezTo>
                  <a:pt x="72" y="374"/>
                  <a:pt x="72" y="374"/>
                  <a:pt x="72" y="374"/>
                </a:cubicBezTo>
                <a:cubicBezTo>
                  <a:pt x="80" y="364"/>
                  <a:pt x="80" y="364"/>
                  <a:pt x="80" y="364"/>
                </a:cubicBezTo>
                <a:cubicBezTo>
                  <a:pt x="80" y="346"/>
                  <a:pt x="80" y="346"/>
                  <a:pt x="80" y="346"/>
                </a:cubicBezTo>
                <a:cubicBezTo>
                  <a:pt x="94" y="346"/>
                  <a:pt x="94" y="346"/>
                  <a:pt x="94" y="346"/>
                </a:cubicBezTo>
                <a:cubicBezTo>
                  <a:pt x="101" y="338"/>
                  <a:pt x="101" y="338"/>
                  <a:pt x="101" y="338"/>
                </a:cubicBezTo>
                <a:cubicBezTo>
                  <a:pt x="80" y="338"/>
                  <a:pt x="80" y="338"/>
                  <a:pt x="80" y="338"/>
                </a:cubicBezTo>
                <a:cubicBezTo>
                  <a:pt x="80" y="279"/>
                  <a:pt x="80" y="279"/>
                  <a:pt x="80" y="279"/>
                </a:cubicBezTo>
                <a:cubicBezTo>
                  <a:pt x="138" y="279"/>
                  <a:pt x="138" y="279"/>
                  <a:pt x="138" y="279"/>
                </a:cubicBezTo>
                <a:cubicBezTo>
                  <a:pt x="138" y="291"/>
                  <a:pt x="138" y="291"/>
                  <a:pt x="138" y="291"/>
                </a:cubicBezTo>
                <a:cubicBezTo>
                  <a:pt x="146" y="281"/>
                  <a:pt x="146" y="281"/>
                  <a:pt x="146" y="281"/>
                </a:cubicBezTo>
                <a:cubicBezTo>
                  <a:pt x="146" y="279"/>
                  <a:pt x="146" y="279"/>
                  <a:pt x="146" y="279"/>
                </a:cubicBezTo>
                <a:cubicBezTo>
                  <a:pt x="147" y="279"/>
                  <a:pt x="147" y="279"/>
                  <a:pt x="147" y="279"/>
                </a:cubicBezTo>
                <a:cubicBezTo>
                  <a:pt x="153" y="271"/>
                  <a:pt x="153" y="271"/>
                  <a:pt x="153" y="271"/>
                </a:cubicBezTo>
                <a:cubicBezTo>
                  <a:pt x="146" y="271"/>
                  <a:pt x="146" y="271"/>
                  <a:pt x="146" y="271"/>
                </a:cubicBezTo>
                <a:cubicBezTo>
                  <a:pt x="146" y="213"/>
                  <a:pt x="146" y="213"/>
                  <a:pt x="146" y="213"/>
                </a:cubicBezTo>
                <a:cubicBezTo>
                  <a:pt x="204" y="213"/>
                  <a:pt x="204" y="213"/>
                  <a:pt x="204" y="213"/>
                </a:cubicBezTo>
                <a:cubicBezTo>
                  <a:pt x="204" y="242"/>
                  <a:pt x="204" y="242"/>
                  <a:pt x="204" y="242"/>
                </a:cubicBezTo>
                <a:cubicBezTo>
                  <a:pt x="206" y="243"/>
                  <a:pt x="209" y="245"/>
                  <a:pt x="212" y="247"/>
                </a:cubicBezTo>
                <a:cubicBezTo>
                  <a:pt x="212" y="213"/>
                  <a:pt x="212" y="213"/>
                  <a:pt x="212" y="213"/>
                </a:cubicBezTo>
                <a:cubicBezTo>
                  <a:pt x="270" y="213"/>
                  <a:pt x="270" y="213"/>
                  <a:pt x="270" y="213"/>
                </a:cubicBezTo>
                <a:cubicBezTo>
                  <a:pt x="270" y="242"/>
                  <a:pt x="270" y="242"/>
                  <a:pt x="270" y="242"/>
                </a:cubicBezTo>
                <a:cubicBezTo>
                  <a:pt x="273" y="239"/>
                  <a:pt x="275" y="236"/>
                  <a:pt x="278" y="233"/>
                </a:cubicBezTo>
                <a:cubicBezTo>
                  <a:pt x="278" y="213"/>
                  <a:pt x="278" y="213"/>
                  <a:pt x="278" y="213"/>
                </a:cubicBezTo>
                <a:cubicBezTo>
                  <a:pt x="295" y="213"/>
                  <a:pt x="295" y="213"/>
                  <a:pt x="295" y="213"/>
                </a:cubicBezTo>
                <a:cubicBezTo>
                  <a:pt x="298" y="210"/>
                  <a:pt x="300" y="207"/>
                  <a:pt x="302" y="205"/>
                </a:cubicBezTo>
                <a:cubicBezTo>
                  <a:pt x="278" y="205"/>
                  <a:pt x="278" y="205"/>
                  <a:pt x="278" y="205"/>
                </a:cubicBezTo>
                <a:cubicBezTo>
                  <a:pt x="278" y="146"/>
                  <a:pt x="278" y="146"/>
                  <a:pt x="278" y="146"/>
                </a:cubicBezTo>
                <a:cubicBezTo>
                  <a:pt x="336" y="146"/>
                  <a:pt x="336" y="146"/>
                  <a:pt x="336" y="146"/>
                </a:cubicBezTo>
                <a:cubicBezTo>
                  <a:pt x="336" y="166"/>
                  <a:pt x="336" y="166"/>
                  <a:pt x="336" y="166"/>
                </a:cubicBezTo>
                <a:cubicBezTo>
                  <a:pt x="340" y="162"/>
                  <a:pt x="342" y="160"/>
                  <a:pt x="342" y="160"/>
                </a:cubicBezTo>
                <a:cubicBezTo>
                  <a:pt x="342" y="159"/>
                  <a:pt x="343" y="158"/>
                  <a:pt x="344" y="158"/>
                </a:cubicBezTo>
                <a:cubicBezTo>
                  <a:pt x="344" y="146"/>
                  <a:pt x="344" y="146"/>
                  <a:pt x="344" y="146"/>
                </a:cubicBezTo>
                <a:cubicBezTo>
                  <a:pt x="402" y="146"/>
                  <a:pt x="402" y="146"/>
                  <a:pt x="402" y="146"/>
                </a:cubicBezTo>
                <a:cubicBezTo>
                  <a:pt x="402" y="158"/>
                  <a:pt x="402" y="158"/>
                  <a:pt x="402" y="158"/>
                </a:cubicBezTo>
                <a:cubicBezTo>
                  <a:pt x="405" y="155"/>
                  <a:pt x="407" y="152"/>
                  <a:pt x="410" y="148"/>
                </a:cubicBezTo>
                <a:cubicBezTo>
                  <a:pt x="410" y="146"/>
                  <a:pt x="410" y="146"/>
                  <a:pt x="410" y="146"/>
                </a:cubicBezTo>
                <a:cubicBezTo>
                  <a:pt x="412" y="146"/>
                  <a:pt x="412" y="146"/>
                  <a:pt x="412" y="146"/>
                </a:cubicBezTo>
                <a:cubicBezTo>
                  <a:pt x="414" y="144"/>
                  <a:pt x="416" y="141"/>
                  <a:pt x="418" y="138"/>
                </a:cubicBezTo>
                <a:cubicBezTo>
                  <a:pt x="410" y="138"/>
                  <a:pt x="410" y="138"/>
                  <a:pt x="410" y="138"/>
                </a:cubicBezTo>
                <a:cubicBezTo>
                  <a:pt x="410" y="80"/>
                  <a:pt x="410" y="80"/>
                  <a:pt x="410" y="80"/>
                </a:cubicBezTo>
                <a:cubicBezTo>
                  <a:pt x="422" y="80"/>
                  <a:pt x="422" y="80"/>
                  <a:pt x="422" y="80"/>
                </a:cubicBezTo>
                <a:cubicBezTo>
                  <a:pt x="424" y="77"/>
                  <a:pt x="426" y="74"/>
                  <a:pt x="429" y="72"/>
                </a:cubicBezTo>
                <a:cubicBezTo>
                  <a:pt x="410" y="72"/>
                  <a:pt x="410" y="72"/>
                  <a:pt x="410" y="72"/>
                </a:cubicBezTo>
                <a:cubicBezTo>
                  <a:pt x="410" y="20"/>
                  <a:pt x="410" y="20"/>
                  <a:pt x="410" y="20"/>
                </a:cubicBezTo>
                <a:cubicBezTo>
                  <a:pt x="432" y="20"/>
                  <a:pt x="452" y="20"/>
                  <a:pt x="468" y="20"/>
                </a:cubicBezTo>
                <a:cubicBezTo>
                  <a:pt x="468" y="61"/>
                  <a:pt x="468" y="61"/>
                  <a:pt x="468" y="61"/>
                </a:cubicBezTo>
                <a:cubicBezTo>
                  <a:pt x="476" y="59"/>
                  <a:pt x="476" y="59"/>
                  <a:pt x="476" y="59"/>
                </a:cubicBezTo>
                <a:cubicBezTo>
                  <a:pt x="476" y="20"/>
                  <a:pt x="476" y="20"/>
                  <a:pt x="476" y="20"/>
                </a:cubicBezTo>
                <a:cubicBezTo>
                  <a:pt x="506" y="20"/>
                  <a:pt x="525" y="20"/>
                  <a:pt x="528" y="20"/>
                </a:cubicBezTo>
                <a:cubicBezTo>
                  <a:pt x="528" y="23"/>
                  <a:pt x="528" y="43"/>
                  <a:pt x="528" y="72"/>
                </a:cubicBezTo>
                <a:cubicBezTo>
                  <a:pt x="513" y="72"/>
                  <a:pt x="513" y="72"/>
                  <a:pt x="513" y="72"/>
                </a:cubicBezTo>
                <a:cubicBezTo>
                  <a:pt x="513" y="72"/>
                  <a:pt x="513" y="72"/>
                  <a:pt x="513" y="73"/>
                </a:cubicBezTo>
                <a:cubicBezTo>
                  <a:pt x="513" y="74"/>
                  <a:pt x="513" y="74"/>
                  <a:pt x="513" y="75"/>
                </a:cubicBezTo>
                <a:cubicBezTo>
                  <a:pt x="513" y="76"/>
                  <a:pt x="513" y="76"/>
                  <a:pt x="513" y="76"/>
                </a:cubicBezTo>
                <a:cubicBezTo>
                  <a:pt x="513" y="80"/>
                  <a:pt x="513" y="80"/>
                  <a:pt x="513" y="80"/>
                </a:cubicBezTo>
                <a:cubicBezTo>
                  <a:pt x="528" y="80"/>
                  <a:pt x="528" y="80"/>
                  <a:pt x="528" y="80"/>
                </a:cubicBezTo>
                <a:cubicBezTo>
                  <a:pt x="528" y="97"/>
                  <a:pt x="528" y="117"/>
                  <a:pt x="528" y="138"/>
                </a:cubicBezTo>
                <a:cubicBezTo>
                  <a:pt x="512" y="138"/>
                  <a:pt x="512" y="138"/>
                  <a:pt x="512" y="138"/>
                </a:cubicBezTo>
                <a:cubicBezTo>
                  <a:pt x="512" y="141"/>
                  <a:pt x="510" y="144"/>
                  <a:pt x="508" y="146"/>
                </a:cubicBezTo>
                <a:cubicBezTo>
                  <a:pt x="528" y="146"/>
                  <a:pt x="528" y="146"/>
                  <a:pt x="528" y="146"/>
                </a:cubicBezTo>
                <a:cubicBezTo>
                  <a:pt x="528" y="165"/>
                  <a:pt x="528" y="185"/>
                  <a:pt x="528" y="205"/>
                </a:cubicBezTo>
                <a:cubicBezTo>
                  <a:pt x="476" y="205"/>
                  <a:pt x="476" y="205"/>
                  <a:pt x="476" y="205"/>
                </a:cubicBezTo>
                <a:cubicBezTo>
                  <a:pt x="476" y="146"/>
                  <a:pt x="476" y="146"/>
                  <a:pt x="476" y="146"/>
                </a:cubicBezTo>
                <a:cubicBezTo>
                  <a:pt x="479" y="146"/>
                  <a:pt x="479" y="146"/>
                  <a:pt x="479" y="146"/>
                </a:cubicBezTo>
                <a:cubicBezTo>
                  <a:pt x="476" y="143"/>
                  <a:pt x="474" y="138"/>
                  <a:pt x="473" y="133"/>
                </a:cubicBezTo>
                <a:cubicBezTo>
                  <a:pt x="463" y="146"/>
                  <a:pt x="463" y="146"/>
                  <a:pt x="463" y="146"/>
                </a:cubicBezTo>
                <a:cubicBezTo>
                  <a:pt x="468" y="146"/>
                  <a:pt x="468" y="146"/>
                  <a:pt x="468" y="146"/>
                </a:cubicBezTo>
                <a:cubicBezTo>
                  <a:pt x="468" y="205"/>
                  <a:pt x="468" y="205"/>
                  <a:pt x="468" y="205"/>
                </a:cubicBezTo>
                <a:cubicBezTo>
                  <a:pt x="416" y="205"/>
                  <a:pt x="416" y="205"/>
                  <a:pt x="416" y="205"/>
                </a:cubicBezTo>
                <a:cubicBezTo>
                  <a:pt x="411" y="211"/>
                  <a:pt x="411" y="211"/>
                  <a:pt x="411" y="211"/>
                </a:cubicBezTo>
                <a:cubicBezTo>
                  <a:pt x="409" y="214"/>
                  <a:pt x="406" y="216"/>
                  <a:pt x="402" y="218"/>
                </a:cubicBezTo>
                <a:cubicBezTo>
                  <a:pt x="402" y="271"/>
                  <a:pt x="402" y="271"/>
                  <a:pt x="402" y="271"/>
                </a:cubicBezTo>
                <a:cubicBezTo>
                  <a:pt x="344" y="271"/>
                  <a:pt x="344" y="271"/>
                  <a:pt x="344" y="271"/>
                </a:cubicBezTo>
                <a:cubicBezTo>
                  <a:pt x="344" y="218"/>
                  <a:pt x="344" y="218"/>
                  <a:pt x="344" y="218"/>
                </a:cubicBezTo>
                <a:cubicBezTo>
                  <a:pt x="342" y="221"/>
                  <a:pt x="339" y="224"/>
                  <a:pt x="336" y="227"/>
                </a:cubicBezTo>
                <a:cubicBezTo>
                  <a:pt x="336" y="271"/>
                  <a:pt x="336" y="271"/>
                  <a:pt x="336" y="271"/>
                </a:cubicBezTo>
                <a:cubicBezTo>
                  <a:pt x="298" y="271"/>
                  <a:pt x="298" y="271"/>
                  <a:pt x="298" y="271"/>
                </a:cubicBezTo>
                <a:cubicBezTo>
                  <a:pt x="295" y="274"/>
                  <a:pt x="293" y="277"/>
                  <a:pt x="291" y="279"/>
                </a:cubicBezTo>
                <a:cubicBezTo>
                  <a:pt x="336" y="279"/>
                  <a:pt x="336" y="279"/>
                  <a:pt x="336" y="279"/>
                </a:cubicBezTo>
                <a:cubicBezTo>
                  <a:pt x="336" y="338"/>
                  <a:pt x="336" y="338"/>
                  <a:pt x="336" y="338"/>
                </a:cubicBezTo>
                <a:cubicBezTo>
                  <a:pt x="278" y="338"/>
                  <a:pt x="278" y="338"/>
                  <a:pt x="278" y="338"/>
                </a:cubicBezTo>
                <a:cubicBezTo>
                  <a:pt x="278" y="293"/>
                  <a:pt x="278" y="293"/>
                  <a:pt x="278" y="293"/>
                </a:cubicBezTo>
                <a:cubicBezTo>
                  <a:pt x="275" y="297"/>
                  <a:pt x="272" y="300"/>
                  <a:pt x="270" y="303"/>
                </a:cubicBezTo>
                <a:cubicBezTo>
                  <a:pt x="270" y="338"/>
                  <a:pt x="270" y="338"/>
                  <a:pt x="270" y="338"/>
                </a:cubicBezTo>
                <a:cubicBezTo>
                  <a:pt x="212" y="338"/>
                  <a:pt x="212" y="338"/>
                  <a:pt x="212" y="338"/>
                </a:cubicBezTo>
                <a:cubicBezTo>
                  <a:pt x="212" y="293"/>
                  <a:pt x="212" y="293"/>
                  <a:pt x="212" y="293"/>
                </a:cubicBezTo>
                <a:cubicBezTo>
                  <a:pt x="209" y="292"/>
                  <a:pt x="207" y="290"/>
                  <a:pt x="204" y="289"/>
                </a:cubicBezTo>
                <a:cubicBezTo>
                  <a:pt x="204" y="338"/>
                  <a:pt x="204" y="338"/>
                  <a:pt x="204" y="338"/>
                </a:cubicBezTo>
                <a:cubicBezTo>
                  <a:pt x="152" y="338"/>
                  <a:pt x="152" y="338"/>
                  <a:pt x="152" y="338"/>
                </a:cubicBezTo>
                <a:cubicBezTo>
                  <a:pt x="147" y="343"/>
                  <a:pt x="143" y="349"/>
                  <a:pt x="138" y="355"/>
                </a:cubicBezTo>
                <a:cubicBezTo>
                  <a:pt x="138" y="404"/>
                  <a:pt x="138" y="404"/>
                  <a:pt x="138" y="404"/>
                </a:cubicBezTo>
                <a:cubicBezTo>
                  <a:pt x="99" y="404"/>
                  <a:pt x="99" y="404"/>
                  <a:pt x="99" y="404"/>
                </a:cubicBezTo>
                <a:cubicBezTo>
                  <a:pt x="97" y="407"/>
                  <a:pt x="95" y="410"/>
                  <a:pt x="93" y="412"/>
                </a:cubicBezTo>
                <a:cubicBezTo>
                  <a:pt x="138" y="412"/>
                  <a:pt x="138" y="412"/>
                  <a:pt x="138" y="412"/>
                </a:cubicBezTo>
                <a:cubicBezTo>
                  <a:pt x="138" y="465"/>
                  <a:pt x="138" y="465"/>
                  <a:pt x="138" y="465"/>
                </a:cubicBezTo>
                <a:cubicBezTo>
                  <a:pt x="116" y="465"/>
                  <a:pt x="97" y="465"/>
                  <a:pt x="80" y="465"/>
                </a:cubicBezTo>
                <a:cubicBezTo>
                  <a:pt x="80" y="428"/>
                  <a:pt x="80" y="428"/>
                  <a:pt x="80" y="428"/>
                </a:cubicBezTo>
                <a:cubicBezTo>
                  <a:pt x="77" y="432"/>
                  <a:pt x="74" y="435"/>
                  <a:pt x="72" y="438"/>
                </a:cubicBezTo>
                <a:cubicBezTo>
                  <a:pt x="72" y="465"/>
                  <a:pt x="72" y="465"/>
                  <a:pt x="72" y="465"/>
                </a:cubicBezTo>
                <a:cubicBezTo>
                  <a:pt x="64" y="465"/>
                  <a:pt x="57" y="465"/>
                  <a:pt x="51" y="465"/>
                </a:cubicBezTo>
                <a:cubicBezTo>
                  <a:pt x="48" y="465"/>
                  <a:pt x="45" y="465"/>
                  <a:pt x="42" y="465"/>
                </a:cubicBezTo>
                <a:close/>
                <a:moveTo>
                  <a:pt x="476" y="465"/>
                </a:moveTo>
                <a:cubicBezTo>
                  <a:pt x="476" y="412"/>
                  <a:pt x="476" y="412"/>
                  <a:pt x="476" y="412"/>
                </a:cubicBezTo>
                <a:cubicBezTo>
                  <a:pt x="528" y="412"/>
                  <a:pt x="528" y="412"/>
                  <a:pt x="528" y="412"/>
                </a:cubicBezTo>
                <a:cubicBezTo>
                  <a:pt x="528" y="441"/>
                  <a:pt x="528" y="461"/>
                  <a:pt x="528" y="465"/>
                </a:cubicBezTo>
                <a:cubicBezTo>
                  <a:pt x="525" y="465"/>
                  <a:pt x="506" y="465"/>
                  <a:pt x="476" y="4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smtClean="0">
              <a:ln>
                <a:noFill/>
              </a:ln>
              <a:solidFill>
                <a:srgbClr val="363535"/>
              </a:solidFill>
              <a:effectLst/>
              <a:uLnTx/>
              <a:uFillTx/>
              <a:latin typeface="Segoe UI"/>
              <a:sym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50701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62" grpId="0" animBg="1"/>
      <p:bldP spid="2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409303" y="1175040"/>
            <a:ext cx="10759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R4.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 数据可视化需求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8" name="Rectangle 2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830247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将指定策略的历史回测数据进行可视化呈现。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zh-CN" alt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参考优矿、聚宽、米筐等公开量化研究平台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的策略历史数据回测功能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60" name="Rectangle 31"/>
          <p:cNvSpPr/>
          <p:nvPr>
            <p:custDataLst>
              <p:tags r:id="rId2"/>
            </p:custDataLst>
          </p:nvPr>
        </p:nvSpPr>
        <p:spPr bwMode="auto">
          <a:xfrm>
            <a:off x="3830247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4.</a:t>
            </a:r>
            <a:r>
              <a:rPr lang="en-US" altLang="zh-CN" sz="1500" kern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2</a:t>
            </a:r>
            <a:r>
              <a:rPr lang="zh-CN" altLang="en-US" sz="15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回测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数据可视化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62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237557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将指定策略的模拟交易数据进行可视化呈现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zh-CN" altLang="en-US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lang="zh-CN" altLang="en-US" sz="12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参考优矿、聚宽、米筐等公开量化研究平台</a:t>
            </a: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的模拟交易功能。</a:t>
            </a:r>
            <a:endParaRPr lang="en-US" altLang="zh-CN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64" name="Rectangle 31"/>
          <p:cNvSpPr/>
          <p:nvPr>
            <p:custDataLst>
              <p:tags r:id="rId4"/>
            </p:custDataLst>
          </p:nvPr>
        </p:nvSpPr>
        <p:spPr bwMode="auto">
          <a:xfrm>
            <a:off x="6237557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4.3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模拟数据可视化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14" name="Rectangle 2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422937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将从数据供应商那里获取的原始数据、清洗后的数据、分析后的数据等各个阶段的数据，通过图表等方式进行可视化呈现。</a:t>
            </a:r>
          </a:p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zh-CN" alt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15" name="Rectangle 31"/>
          <p:cNvSpPr/>
          <p:nvPr>
            <p:custDataLst>
              <p:tags r:id="rId6"/>
            </p:custDataLst>
          </p:nvPr>
        </p:nvSpPr>
        <p:spPr bwMode="auto">
          <a:xfrm>
            <a:off x="1422937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4.</a:t>
            </a:r>
            <a:r>
              <a:rPr lang="en-US" altLang="zh-CN" sz="15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1</a:t>
            </a:r>
            <a:r>
              <a:rPr lang="zh-CN" altLang="en-US" sz="15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 基础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数据可视化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17" name="Rectangle 22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8644867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lang="zh-CN" altLang="en-US" sz="12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 Light" charset="-122"/>
                <a:ea typeface="Yuanti SC Light" charset="-122"/>
                <a:cs typeface="Yuanti SC Light" charset="-122"/>
              </a:rPr>
              <a:t>将任意时刻人工智能深度学习的过程和结果信息进行可视化呈现。</a:t>
            </a:r>
            <a:endParaRPr lang="en-US" altLang="zh-CN" sz="1200" kern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18" name="Rectangle 31"/>
          <p:cNvSpPr/>
          <p:nvPr>
            <p:custDataLst>
              <p:tags r:id="rId8"/>
            </p:custDataLst>
          </p:nvPr>
        </p:nvSpPr>
        <p:spPr bwMode="auto">
          <a:xfrm>
            <a:off x="8644867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4.4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</a:t>
            </a: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AI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数据可视化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22" name="Freeform 29"/>
          <p:cNvSpPr>
            <a:spLocks noEditPoints="1"/>
          </p:cNvSpPr>
          <p:nvPr/>
        </p:nvSpPr>
        <p:spPr bwMode="auto">
          <a:xfrm>
            <a:off x="6841835" y="2505426"/>
            <a:ext cx="711684" cy="629798"/>
          </a:xfrm>
          <a:custGeom>
            <a:avLst/>
            <a:gdLst>
              <a:gd name="T0" fmla="*/ 10 w 548"/>
              <a:gd name="T1" fmla="*/ 485 h 485"/>
              <a:gd name="T2" fmla="*/ 528 w 548"/>
              <a:gd name="T3" fmla="*/ 338 h 485"/>
              <a:gd name="T4" fmla="*/ 476 w 548"/>
              <a:gd name="T5" fmla="*/ 271 h 485"/>
              <a:gd name="T6" fmla="*/ 410 w 548"/>
              <a:gd name="T7" fmla="*/ 213 h 485"/>
              <a:gd name="T8" fmla="*/ 410 w 548"/>
              <a:gd name="T9" fmla="*/ 279 h 485"/>
              <a:gd name="T10" fmla="*/ 402 w 548"/>
              <a:gd name="T11" fmla="*/ 338 h 485"/>
              <a:gd name="T12" fmla="*/ 336 w 548"/>
              <a:gd name="T13" fmla="*/ 404 h 485"/>
              <a:gd name="T14" fmla="*/ 212 w 548"/>
              <a:gd name="T15" fmla="*/ 404 h 485"/>
              <a:gd name="T16" fmla="*/ 146 w 548"/>
              <a:gd name="T17" fmla="*/ 346 h 485"/>
              <a:gd name="T18" fmla="*/ 146 w 548"/>
              <a:gd name="T19" fmla="*/ 412 h 485"/>
              <a:gd name="T20" fmla="*/ 212 w 548"/>
              <a:gd name="T21" fmla="*/ 412 h 485"/>
              <a:gd name="T22" fmla="*/ 344 w 548"/>
              <a:gd name="T23" fmla="*/ 412 h 485"/>
              <a:gd name="T24" fmla="*/ 468 w 548"/>
              <a:gd name="T25" fmla="*/ 412 h 485"/>
              <a:gd name="T26" fmla="*/ 468 w 548"/>
              <a:gd name="T27" fmla="*/ 346 h 485"/>
              <a:gd name="T28" fmla="*/ 476 w 548"/>
              <a:gd name="T29" fmla="*/ 404 h 485"/>
              <a:gd name="T30" fmla="*/ 270 w 548"/>
              <a:gd name="T31" fmla="*/ 72 h 485"/>
              <a:gd name="T32" fmla="*/ 204 w 548"/>
              <a:gd name="T33" fmla="*/ 72 h 485"/>
              <a:gd name="T34" fmla="*/ 204 w 548"/>
              <a:gd name="T35" fmla="*/ 138 h 485"/>
              <a:gd name="T36" fmla="*/ 80 w 548"/>
              <a:gd name="T37" fmla="*/ 20 h 485"/>
              <a:gd name="T38" fmla="*/ 80 w 548"/>
              <a:gd name="T39" fmla="*/ 80 h 485"/>
              <a:gd name="T40" fmla="*/ 72 w 548"/>
              <a:gd name="T41" fmla="*/ 138 h 485"/>
              <a:gd name="T42" fmla="*/ 20 w 548"/>
              <a:gd name="T43" fmla="*/ 279 h 485"/>
              <a:gd name="T44" fmla="*/ 20 w 548"/>
              <a:gd name="T45" fmla="*/ 213 h 485"/>
              <a:gd name="T46" fmla="*/ 138 w 548"/>
              <a:gd name="T47" fmla="*/ 271 h 485"/>
              <a:gd name="T48" fmla="*/ 138 w 548"/>
              <a:gd name="T49" fmla="*/ 205 h 485"/>
              <a:gd name="T50" fmla="*/ 146 w 548"/>
              <a:gd name="T51" fmla="*/ 146 h 485"/>
              <a:gd name="T52" fmla="*/ 212 w 548"/>
              <a:gd name="T53" fmla="*/ 138 h 485"/>
              <a:gd name="T54" fmla="*/ 336 w 548"/>
              <a:gd name="T55" fmla="*/ 80 h 485"/>
              <a:gd name="T56" fmla="*/ 402 w 548"/>
              <a:gd name="T57" fmla="*/ 138 h 485"/>
              <a:gd name="T58" fmla="*/ 402 w 548"/>
              <a:gd name="T59" fmla="*/ 72 h 485"/>
              <a:gd name="T60" fmla="*/ 72 w 548"/>
              <a:gd name="T61" fmla="*/ 20 h 485"/>
              <a:gd name="T62" fmla="*/ 389 w 548"/>
              <a:gd name="T63" fmla="*/ 209 h 485"/>
              <a:gd name="T64" fmla="*/ 505 w 548"/>
              <a:gd name="T65" fmla="*/ 76 h 485"/>
              <a:gd name="T66" fmla="*/ 504 w 548"/>
              <a:gd name="T67" fmla="*/ 70 h 485"/>
              <a:gd name="T68" fmla="*/ 500 w 548"/>
              <a:gd name="T69" fmla="*/ 66 h 485"/>
              <a:gd name="T70" fmla="*/ 493 w 548"/>
              <a:gd name="T71" fmla="*/ 64 h 485"/>
              <a:gd name="T72" fmla="*/ 429 w 548"/>
              <a:gd name="T73" fmla="*/ 90 h 485"/>
              <a:gd name="T74" fmla="*/ 249 w 548"/>
              <a:gd name="T75" fmla="*/ 278 h 485"/>
              <a:gd name="T76" fmla="*/ 41 w 548"/>
              <a:gd name="T77" fmla="*/ 412 h 485"/>
              <a:gd name="T78" fmla="*/ 80 w 548"/>
              <a:gd name="T79" fmla="*/ 364 h 485"/>
              <a:gd name="T80" fmla="*/ 138 w 548"/>
              <a:gd name="T81" fmla="*/ 279 h 485"/>
              <a:gd name="T82" fmla="*/ 146 w 548"/>
              <a:gd name="T83" fmla="*/ 271 h 485"/>
              <a:gd name="T84" fmla="*/ 270 w 548"/>
              <a:gd name="T85" fmla="*/ 213 h 485"/>
              <a:gd name="T86" fmla="*/ 278 w 548"/>
              <a:gd name="T87" fmla="*/ 205 h 485"/>
              <a:gd name="T88" fmla="*/ 344 w 548"/>
              <a:gd name="T89" fmla="*/ 146 h 485"/>
              <a:gd name="T90" fmla="*/ 418 w 548"/>
              <a:gd name="T91" fmla="*/ 138 h 485"/>
              <a:gd name="T92" fmla="*/ 410 w 548"/>
              <a:gd name="T93" fmla="*/ 20 h 485"/>
              <a:gd name="T94" fmla="*/ 528 w 548"/>
              <a:gd name="T95" fmla="*/ 72 h 485"/>
              <a:gd name="T96" fmla="*/ 528 w 548"/>
              <a:gd name="T97" fmla="*/ 80 h 485"/>
              <a:gd name="T98" fmla="*/ 476 w 548"/>
              <a:gd name="T99" fmla="*/ 205 h 485"/>
              <a:gd name="T100" fmla="*/ 468 w 548"/>
              <a:gd name="T101" fmla="*/ 205 h 485"/>
              <a:gd name="T102" fmla="*/ 344 w 548"/>
              <a:gd name="T103" fmla="*/ 218 h 485"/>
              <a:gd name="T104" fmla="*/ 336 w 548"/>
              <a:gd name="T105" fmla="*/ 338 h 485"/>
              <a:gd name="T106" fmla="*/ 212 w 548"/>
              <a:gd name="T107" fmla="*/ 293 h 485"/>
              <a:gd name="T108" fmla="*/ 99 w 548"/>
              <a:gd name="T109" fmla="*/ 404 h 485"/>
              <a:gd name="T110" fmla="*/ 72 w 548"/>
              <a:gd name="T111" fmla="*/ 438 h 485"/>
              <a:gd name="T112" fmla="*/ 528 w 548"/>
              <a:gd name="T113" fmla="*/ 412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8" h="485">
                <a:moveTo>
                  <a:pt x="538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465"/>
                  <a:pt x="0" y="465"/>
                  <a:pt x="0" y="465"/>
                </a:cubicBezTo>
                <a:cubicBezTo>
                  <a:pt x="0" y="475"/>
                  <a:pt x="0" y="475"/>
                  <a:pt x="0" y="475"/>
                </a:cubicBezTo>
                <a:cubicBezTo>
                  <a:pt x="0" y="480"/>
                  <a:pt x="4" y="485"/>
                  <a:pt x="10" y="485"/>
                </a:cubicBezTo>
                <a:cubicBezTo>
                  <a:pt x="35" y="485"/>
                  <a:pt x="35" y="485"/>
                  <a:pt x="35" y="485"/>
                </a:cubicBezTo>
                <a:cubicBezTo>
                  <a:pt x="538" y="485"/>
                  <a:pt x="538" y="485"/>
                  <a:pt x="538" y="485"/>
                </a:cubicBezTo>
                <a:cubicBezTo>
                  <a:pt x="544" y="485"/>
                  <a:pt x="548" y="480"/>
                  <a:pt x="548" y="475"/>
                </a:cubicBezTo>
                <a:cubicBezTo>
                  <a:pt x="548" y="10"/>
                  <a:pt x="548" y="10"/>
                  <a:pt x="548" y="10"/>
                </a:cubicBezTo>
                <a:cubicBezTo>
                  <a:pt x="548" y="4"/>
                  <a:pt x="544" y="0"/>
                  <a:pt x="538" y="0"/>
                </a:cubicBezTo>
                <a:close/>
                <a:moveTo>
                  <a:pt x="528" y="338"/>
                </a:moveTo>
                <a:cubicBezTo>
                  <a:pt x="476" y="338"/>
                  <a:pt x="476" y="338"/>
                  <a:pt x="476" y="338"/>
                </a:cubicBezTo>
                <a:cubicBezTo>
                  <a:pt x="476" y="279"/>
                  <a:pt x="476" y="279"/>
                  <a:pt x="476" y="279"/>
                </a:cubicBezTo>
                <a:cubicBezTo>
                  <a:pt x="528" y="279"/>
                  <a:pt x="528" y="279"/>
                  <a:pt x="528" y="279"/>
                </a:cubicBezTo>
                <a:cubicBezTo>
                  <a:pt x="528" y="299"/>
                  <a:pt x="528" y="319"/>
                  <a:pt x="528" y="338"/>
                </a:cubicBezTo>
                <a:close/>
                <a:moveTo>
                  <a:pt x="528" y="271"/>
                </a:moveTo>
                <a:cubicBezTo>
                  <a:pt x="476" y="271"/>
                  <a:pt x="476" y="271"/>
                  <a:pt x="476" y="271"/>
                </a:cubicBezTo>
                <a:cubicBezTo>
                  <a:pt x="476" y="213"/>
                  <a:pt x="476" y="213"/>
                  <a:pt x="476" y="213"/>
                </a:cubicBezTo>
                <a:cubicBezTo>
                  <a:pt x="528" y="213"/>
                  <a:pt x="528" y="213"/>
                  <a:pt x="528" y="213"/>
                </a:cubicBezTo>
                <a:cubicBezTo>
                  <a:pt x="528" y="232"/>
                  <a:pt x="528" y="252"/>
                  <a:pt x="528" y="271"/>
                </a:cubicBezTo>
                <a:close/>
                <a:moveTo>
                  <a:pt x="468" y="271"/>
                </a:moveTo>
                <a:cubicBezTo>
                  <a:pt x="410" y="271"/>
                  <a:pt x="410" y="271"/>
                  <a:pt x="410" y="271"/>
                </a:cubicBezTo>
                <a:cubicBezTo>
                  <a:pt x="410" y="213"/>
                  <a:pt x="410" y="213"/>
                  <a:pt x="410" y="213"/>
                </a:cubicBezTo>
                <a:cubicBezTo>
                  <a:pt x="468" y="213"/>
                  <a:pt x="468" y="213"/>
                  <a:pt x="468" y="213"/>
                </a:cubicBezTo>
                <a:lnTo>
                  <a:pt x="468" y="271"/>
                </a:lnTo>
                <a:close/>
                <a:moveTo>
                  <a:pt x="468" y="279"/>
                </a:moveTo>
                <a:cubicBezTo>
                  <a:pt x="468" y="338"/>
                  <a:pt x="468" y="338"/>
                  <a:pt x="468" y="338"/>
                </a:cubicBezTo>
                <a:cubicBezTo>
                  <a:pt x="410" y="338"/>
                  <a:pt x="410" y="338"/>
                  <a:pt x="410" y="338"/>
                </a:cubicBezTo>
                <a:cubicBezTo>
                  <a:pt x="410" y="279"/>
                  <a:pt x="410" y="279"/>
                  <a:pt x="410" y="279"/>
                </a:cubicBezTo>
                <a:lnTo>
                  <a:pt x="468" y="279"/>
                </a:lnTo>
                <a:close/>
                <a:moveTo>
                  <a:pt x="402" y="338"/>
                </a:moveTo>
                <a:cubicBezTo>
                  <a:pt x="344" y="338"/>
                  <a:pt x="344" y="338"/>
                  <a:pt x="344" y="338"/>
                </a:cubicBezTo>
                <a:cubicBezTo>
                  <a:pt x="344" y="279"/>
                  <a:pt x="344" y="279"/>
                  <a:pt x="344" y="279"/>
                </a:cubicBezTo>
                <a:cubicBezTo>
                  <a:pt x="402" y="279"/>
                  <a:pt x="402" y="279"/>
                  <a:pt x="402" y="279"/>
                </a:cubicBezTo>
                <a:lnTo>
                  <a:pt x="402" y="338"/>
                </a:lnTo>
                <a:close/>
                <a:moveTo>
                  <a:pt x="402" y="346"/>
                </a:moveTo>
                <a:cubicBezTo>
                  <a:pt x="402" y="404"/>
                  <a:pt x="402" y="404"/>
                  <a:pt x="402" y="404"/>
                </a:cubicBezTo>
                <a:cubicBezTo>
                  <a:pt x="344" y="404"/>
                  <a:pt x="344" y="404"/>
                  <a:pt x="344" y="404"/>
                </a:cubicBezTo>
                <a:cubicBezTo>
                  <a:pt x="344" y="346"/>
                  <a:pt x="344" y="346"/>
                  <a:pt x="344" y="346"/>
                </a:cubicBezTo>
                <a:lnTo>
                  <a:pt x="402" y="346"/>
                </a:lnTo>
                <a:close/>
                <a:moveTo>
                  <a:pt x="336" y="404"/>
                </a:moveTo>
                <a:cubicBezTo>
                  <a:pt x="278" y="404"/>
                  <a:pt x="278" y="404"/>
                  <a:pt x="278" y="404"/>
                </a:cubicBezTo>
                <a:cubicBezTo>
                  <a:pt x="278" y="346"/>
                  <a:pt x="278" y="346"/>
                  <a:pt x="278" y="346"/>
                </a:cubicBezTo>
                <a:cubicBezTo>
                  <a:pt x="336" y="346"/>
                  <a:pt x="336" y="346"/>
                  <a:pt x="336" y="346"/>
                </a:cubicBezTo>
                <a:lnTo>
                  <a:pt x="336" y="404"/>
                </a:lnTo>
                <a:close/>
                <a:moveTo>
                  <a:pt x="270" y="404"/>
                </a:moveTo>
                <a:cubicBezTo>
                  <a:pt x="212" y="404"/>
                  <a:pt x="212" y="404"/>
                  <a:pt x="212" y="404"/>
                </a:cubicBezTo>
                <a:cubicBezTo>
                  <a:pt x="212" y="346"/>
                  <a:pt x="212" y="346"/>
                  <a:pt x="212" y="346"/>
                </a:cubicBezTo>
                <a:cubicBezTo>
                  <a:pt x="270" y="346"/>
                  <a:pt x="270" y="346"/>
                  <a:pt x="270" y="346"/>
                </a:cubicBezTo>
                <a:lnTo>
                  <a:pt x="270" y="404"/>
                </a:lnTo>
                <a:close/>
                <a:moveTo>
                  <a:pt x="204" y="404"/>
                </a:moveTo>
                <a:cubicBezTo>
                  <a:pt x="146" y="404"/>
                  <a:pt x="146" y="404"/>
                  <a:pt x="146" y="404"/>
                </a:cubicBezTo>
                <a:cubicBezTo>
                  <a:pt x="146" y="346"/>
                  <a:pt x="146" y="346"/>
                  <a:pt x="146" y="346"/>
                </a:cubicBezTo>
                <a:cubicBezTo>
                  <a:pt x="204" y="346"/>
                  <a:pt x="204" y="346"/>
                  <a:pt x="204" y="346"/>
                </a:cubicBezTo>
                <a:lnTo>
                  <a:pt x="204" y="404"/>
                </a:lnTo>
                <a:close/>
                <a:moveTo>
                  <a:pt x="204" y="412"/>
                </a:moveTo>
                <a:cubicBezTo>
                  <a:pt x="204" y="465"/>
                  <a:pt x="204" y="465"/>
                  <a:pt x="204" y="465"/>
                </a:cubicBezTo>
                <a:cubicBezTo>
                  <a:pt x="184" y="465"/>
                  <a:pt x="164" y="465"/>
                  <a:pt x="146" y="465"/>
                </a:cubicBezTo>
                <a:cubicBezTo>
                  <a:pt x="146" y="412"/>
                  <a:pt x="146" y="412"/>
                  <a:pt x="146" y="412"/>
                </a:cubicBezTo>
                <a:lnTo>
                  <a:pt x="204" y="412"/>
                </a:lnTo>
                <a:close/>
                <a:moveTo>
                  <a:pt x="212" y="412"/>
                </a:moveTo>
                <a:cubicBezTo>
                  <a:pt x="270" y="412"/>
                  <a:pt x="270" y="412"/>
                  <a:pt x="270" y="412"/>
                </a:cubicBezTo>
                <a:cubicBezTo>
                  <a:pt x="270" y="465"/>
                  <a:pt x="270" y="465"/>
                  <a:pt x="270" y="465"/>
                </a:cubicBezTo>
                <a:cubicBezTo>
                  <a:pt x="251" y="465"/>
                  <a:pt x="231" y="465"/>
                  <a:pt x="212" y="465"/>
                </a:cubicBezTo>
                <a:lnTo>
                  <a:pt x="212" y="412"/>
                </a:lnTo>
                <a:close/>
                <a:moveTo>
                  <a:pt x="278" y="412"/>
                </a:moveTo>
                <a:cubicBezTo>
                  <a:pt x="336" y="412"/>
                  <a:pt x="336" y="412"/>
                  <a:pt x="336" y="412"/>
                </a:cubicBezTo>
                <a:cubicBezTo>
                  <a:pt x="336" y="465"/>
                  <a:pt x="336" y="465"/>
                  <a:pt x="336" y="465"/>
                </a:cubicBezTo>
                <a:cubicBezTo>
                  <a:pt x="317" y="465"/>
                  <a:pt x="298" y="465"/>
                  <a:pt x="278" y="465"/>
                </a:cubicBezTo>
                <a:lnTo>
                  <a:pt x="278" y="412"/>
                </a:lnTo>
                <a:close/>
                <a:moveTo>
                  <a:pt x="344" y="412"/>
                </a:moveTo>
                <a:cubicBezTo>
                  <a:pt x="402" y="412"/>
                  <a:pt x="402" y="412"/>
                  <a:pt x="402" y="412"/>
                </a:cubicBezTo>
                <a:cubicBezTo>
                  <a:pt x="402" y="465"/>
                  <a:pt x="402" y="465"/>
                  <a:pt x="402" y="465"/>
                </a:cubicBezTo>
                <a:cubicBezTo>
                  <a:pt x="384" y="465"/>
                  <a:pt x="364" y="465"/>
                  <a:pt x="344" y="465"/>
                </a:cubicBezTo>
                <a:lnTo>
                  <a:pt x="344" y="412"/>
                </a:lnTo>
                <a:close/>
                <a:moveTo>
                  <a:pt x="410" y="412"/>
                </a:moveTo>
                <a:cubicBezTo>
                  <a:pt x="468" y="412"/>
                  <a:pt x="468" y="412"/>
                  <a:pt x="468" y="412"/>
                </a:cubicBezTo>
                <a:cubicBezTo>
                  <a:pt x="468" y="465"/>
                  <a:pt x="468" y="465"/>
                  <a:pt x="468" y="465"/>
                </a:cubicBezTo>
                <a:cubicBezTo>
                  <a:pt x="452" y="465"/>
                  <a:pt x="432" y="465"/>
                  <a:pt x="410" y="465"/>
                </a:cubicBezTo>
                <a:lnTo>
                  <a:pt x="410" y="412"/>
                </a:lnTo>
                <a:close/>
                <a:moveTo>
                  <a:pt x="410" y="404"/>
                </a:moveTo>
                <a:cubicBezTo>
                  <a:pt x="410" y="346"/>
                  <a:pt x="410" y="346"/>
                  <a:pt x="410" y="346"/>
                </a:cubicBezTo>
                <a:cubicBezTo>
                  <a:pt x="468" y="346"/>
                  <a:pt x="468" y="346"/>
                  <a:pt x="468" y="346"/>
                </a:cubicBezTo>
                <a:cubicBezTo>
                  <a:pt x="468" y="404"/>
                  <a:pt x="468" y="404"/>
                  <a:pt x="468" y="404"/>
                </a:cubicBezTo>
                <a:lnTo>
                  <a:pt x="410" y="404"/>
                </a:lnTo>
                <a:close/>
                <a:moveTo>
                  <a:pt x="476" y="346"/>
                </a:moveTo>
                <a:cubicBezTo>
                  <a:pt x="528" y="346"/>
                  <a:pt x="528" y="346"/>
                  <a:pt x="528" y="346"/>
                </a:cubicBezTo>
                <a:cubicBezTo>
                  <a:pt x="528" y="367"/>
                  <a:pt x="528" y="387"/>
                  <a:pt x="528" y="404"/>
                </a:cubicBezTo>
                <a:cubicBezTo>
                  <a:pt x="476" y="404"/>
                  <a:pt x="476" y="404"/>
                  <a:pt x="476" y="404"/>
                </a:cubicBezTo>
                <a:lnTo>
                  <a:pt x="476" y="346"/>
                </a:lnTo>
                <a:close/>
                <a:moveTo>
                  <a:pt x="270" y="72"/>
                </a:moveTo>
                <a:cubicBezTo>
                  <a:pt x="212" y="72"/>
                  <a:pt x="212" y="72"/>
                  <a:pt x="212" y="72"/>
                </a:cubicBezTo>
                <a:cubicBezTo>
                  <a:pt x="212" y="20"/>
                  <a:pt x="212" y="20"/>
                  <a:pt x="212" y="20"/>
                </a:cubicBezTo>
                <a:cubicBezTo>
                  <a:pt x="231" y="20"/>
                  <a:pt x="251" y="20"/>
                  <a:pt x="270" y="20"/>
                </a:cubicBezTo>
                <a:lnTo>
                  <a:pt x="270" y="72"/>
                </a:lnTo>
                <a:close/>
                <a:moveTo>
                  <a:pt x="278" y="20"/>
                </a:moveTo>
                <a:cubicBezTo>
                  <a:pt x="298" y="20"/>
                  <a:pt x="317" y="20"/>
                  <a:pt x="336" y="20"/>
                </a:cubicBezTo>
                <a:cubicBezTo>
                  <a:pt x="336" y="72"/>
                  <a:pt x="336" y="72"/>
                  <a:pt x="336" y="72"/>
                </a:cubicBezTo>
                <a:cubicBezTo>
                  <a:pt x="278" y="72"/>
                  <a:pt x="278" y="72"/>
                  <a:pt x="278" y="72"/>
                </a:cubicBezTo>
                <a:lnTo>
                  <a:pt x="278" y="20"/>
                </a:lnTo>
                <a:close/>
                <a:moveTo>
                  <a:pt x="204" y="72"/>
                </a:moveTo>
                <a:cubicBezTo>
                  <a:pt x="146" y="72"/>
                  <a:pt x="146" y="72"/>
                  <a:pt x="146" y="72"/>
                </a:cubicBezTo>
                <a:cubicBezTo>
                  <a:pt x="146" y="20"/>
                  <a:pt x="146" y="20"/>
                  <a:pt x="146" y="20"/>
                </a:cubicBezTo>
                <a:cubicBezTo>
                  <a:pt x="164" y="20"/>
                  <a:pt x="184" y="20"/>
                  <a:pt x="204" y="20"/>
                </a:cubicBezTo>
                <a:lnTo>
                  <a:pt x="204" y="72"/>
                </a:lnTo>
                <a:close/>
                <a:moveTo>
                  <a:pt x="204" y="80"/>
                </a:moveTo>
                <a:cubicBezTo>
                  <a:pt x="204" y="138"/>
                  <a:pt x="204" y="138"/>
                  <a:pt x="204" y="138"/>
                </a:cubicBezTo>
                <a:cubicBezTo>
                  <a:pt x="146" y="138"/>
                  <a:pt x="146" y="138"/>
                  <a:pt x="146" y="138"/>
                </a:cubicBezTo>
                <a:cubicBezTo>
                  <a:pt x="146" y="80"/>
                  <a:pt x="146" y="80"/>
                  <a:pt x="146" y="80"/>
                </a:cubicBezTo>
                <a:lnTo>
                  <a:pt x="204" y="80"/>
                </a:lnTo>
                <a:close/>
                <a:moveTo>
                  <a:pt x="138" y="72"/>
                </a:moveTo>
                <a:cubicBezTo>
                  <a:pt x="80" y="72"/>
                  <a:pt x="80" y="72"/>
                  <a:pt x="80" y="72"/>
                </a:cubicBezTo>
                <a:cubicBezTo>
                  <a:pt x="80" y="20"/>
                  <a:pt x="80" y="20"/>
                  <a:pt x="80" y="20"/>
                </a:cubicBezTo>
                <a:cubicBezTo>
                  <a:pt x="97" y="20"/>
                  <a:pt x="116" y="20"/>
                  <a:pt x="138" y="20"/>
                </a:cubicBezTo>
                <a:lnTo>
                  <a:pt x="138" y="72"/>
                </a:lnTo>
                <a:close/>
                <a:moveTo>
                  <a:pt x="138" y="80"/>
                </a:moveTo>
                <a:cubicBezTo>
                  <a:pt x="138" y="138"/>
                  <a:pt x="138" y="138"/>
                  <a:pt x="138" y="138"/>
                </a:cubicBezTo>
                <a:cubicBezTo>
                  <a:pt x="80" y="138"/>
                  <a:pt x="80" y="138"/>
                  <a:pt x="80" y="138"/>
                </a:cubicBezTo>
                <a:cubicBezTo>
                  <a:pt x="80" y="80"/>
                  <a:pt x="80" y="80"/>
                  <a:pt x="80" y="80"/>
                </a:cubicBezTo>
                <a:lnTo>
                  <a:pt x="138" y="80"/>
                </a:lnTo>
                <a:close/>
                <a:moveTo>
                  <a:pt x="72" y="138"/>
                </a:moveTo>
                <a:cubicBezTo>
                  <a:pt x="20" y="138"/>
                  <a:pt x="20" y="138"/>
                  <a:pt x="20" y="138"/>
                </a:cubicBezTo>
                <a:cubicBezTo>
                  <a:pt x="20" y="117"/>
                  <a:pt x="20" y="97"/>
                  <a:pt x="20" y="80"/>
                </a:cubicBezTo>
                <a:cubicBezTo>
                  <a:pt x="72" y="80"/>
                  <a:pt x="72" y="80"/>
                  <a:pt x="72" y="80"/>
                </a:cubicBezTo>
                <a:lnTo>
                  <a:pt x="72" y="138"/>
                </a:lnTo>
                <a:close/>
                <a:moveTo>
                  <a:pt x="20" y="146"/>
                </a:moveTo>
                <a:cubicBezTo>
                  <a:pt x="72" y="146"/>
                  <a:pt x="72" y="146"/>
                  <a:pt x="72" y="146"/>
                </a:cubicBezTo>
                <a:cubicBezTo>
                  <a:pt x="72" y="205"/>
                  <a:pt x="72" y="205"/>
                  <a:pt x="72" y="205"/>
                </a:cubicBezTo>
                <a:cubicBezTo>
                  <a:pt x="20" y="205"/>
                  <a:pt x="20" y="205"/>
                  <a:pt x="20" y="205"/>
                </a:cubicBezTo>
                <a:cubicBezTo>
                  <a:pt x="20" y="185"/>
                  <a:pt x="20" y="165"/>
                  <a:pt x="20" y="146"/>
                </a:cubicBezTo>
                <a:close/>
                <a:moveTo>
                  <a:pt x="20" y="279"/>
                </a:moveTo>
                <a:cubicBezTo>
                  <a:pt x="72" y="279"/>
                  <a:pt x="72" y="279"/>
                  <a:pt x="72" y="279"/>
                </a:cubicBezTo>
                <a:cubicBezTo>
                  <a:pt x="72" y="338"/>
                  <a:pt x="72" y="338"/>
                  <a:pt x="72" y="338"/>
                </a:cubicBezTo>
                <a:cubicBezTo>
                  <a:pt x="20" y="338"/>
                  <a:pt x="20" y="338"/>
                  <a:pt x="20" y="338"/>
                </a:cubicBezTo>
                <a:cubicBezTo>
                  <a:pt x="20" y="319"/>
                  <a:pt x="20" y="299"/>
                  <a:pt x="20" y="279"/>
                </a:cubicBezTo>
                <a:close/>
                <a:moveTo>
                  <a:pt x="20" y="271"/>
                </a:moveTo>
                <a:cubicBezTo>
                  <a:pt x="20" y="252"/>
                  <a:pt x="20" y="232"/>
                  <a:pt x="20" y="213"/>
                </a:cubicBezTo>
                <a:cubicBezTo>
                  <a:pt x="72" y="213"/>
                  <a:pt x="72" y="213"/>
                  <a:pt x="72" y="213"/>
                </a:cubicBezTo>
                <a:cubicBezTo>
                  <a:pt x="72" y="271"/>
                  <a:pt x="72" y="271"/>
                  <a:pt x="72" y="271"/>
                </a:cubicBezTo>
                <a:lnTo>
                  <a:pt x="20" y="271"/>
                </a:lnTo>
                <a:close/>
                <a:moveTo>
                  <a:pt x="80" y="213"/>
                </a:moveTo>
                <a:cubicBezTo>
                  <a:pt x="138" y="213"/>
                  <a:pt x="138" y="213"/>
                  <a:pt x="138" y="213"/>
                </a:cubicBezTo>
                <a:cubicBezTo>
                  <a:pt x="138" y="271"/>
                  <a:pt x="138" y="271"/>
                  <a:pt x="138" y="271"/>
                </a:cubicBezTo>
                <a:cubicBezTo>
                  <a:pt x="80" y="271"/>
                  <a:pt x="80" y="271"/>
                  <a:pt x="80" y="271"/>
                </a:cubicBezTo>
                <a:lnTo>
                  <a:pt x="80" y="213"/>
                </a:lnTo>
                <a:close/>
                <a:moveTo>
                  <a:pt x="80" y="205"/>
                </a:moveTo>
                <a:cubicBezTo>
                  <a:pt x="80" y="146"/>
                  <a:pt x="80" y="146"/>
                  <a:pt x="80" y="146"/>
                </a:cubicBezTo>
                <a:cubicBezTo>
                  <a:pt x="138" y="146"/>
                  <a:pt x="138" y="146"/>
                  <a:pt x="138" y="146"/>
                </a:cubicBezTo>
                <a:cubicBezTo>
                  <a:pt x="138" y="205"/>
                  <a:pt x="138" y="205"/>
                  <a:pt x="138" y="205"/>
                </a:cubicBezTo>
                <a:lnTo>
                  <a:pt x="80" y="205"/>
                </a:lnTo>
                <a:close/>
                <a:moveTo>
                  <a:pt x="146" y="146"/>
                </a:moveTo>
                <a:cubicBezTo>
                  <a:pt x="204" y="146"/>
                  <a:pt x="204" y="146"/>
                  <a:pt x="204" y="146"/>
                </a:cubicBezTo>
                <a:cubicBezTo>
                  <a:pt x="204" y="205"/>
                  <a:pt x="204" y="205"/>
                  <a:pt x="204" y="205"/>
                </a:cubicBezTo>
                <a:cubicBezTo>
                  <a:pt x="146" y="205"/>
                  <a:pt x="146" y="205"/>
                  <a:pt x="146" y="205"/>
                </a:cubicBezTo>
                <a:lnTo>
                  <a:pt x="146" y="146"/>
                </a:lnTo>
                <a:close/>
                <a:moveTo>
                  <a:pt x="212" y="146"/>
                </a:moveTo>
                <a:cubicBezTo>
                  <a:pt x="270" y="146"/>
                  <a:pt x="270" y="146"/>
                  <a:pt x="270" y="146"/>
                </a:cubicBezTo>
                <a:cubicBezTo>
                  <a:pt x="270" y="205"/>
                  <a:pt x="270" y="205"/>
                  <a:pt x="270" y="205"/>
                </a:cubicBezTo>
                <a:cubicBezTo>
                  <a:pt x="212" y="205"/>
                  <a:pt x="212" y="205"/>
                  <a:pt x="212" y="205"/>
                </a:cubicBezTo>
                <a:lnTo>
                  <a:pt x="212" y="146"/>
                </a:lnTo>
                <a:close/>
                <a:moveTo>
                  <a:pt x="212" y="138"/>
                </a:moveTo>
                <a:cubicBezTo>
                  <a:pt x="212" y="80"/>
                  <a:pt x="212" y="80"/>
                  <a:pt x="212" y="80"/>
                </a:cubicBezTo>
                <a:cubicBezTo>
                  <a:pt x="270" y="80"/>
                  <a:pt x="270" y="80"/>
                  <a:pt x="270" y="80"/>
                </a:cubicBezTo>
                <a:cubicBezTo>
                  <a:pt x="270" y="138"/>
                  <a:pt x="270" y="138"/>
                  <a:pt x="270" y="138"/>
                </a:cubicBezTo>
                <a:lnTo>
                  <a:pt x="212" y="138"/>
                </a:lnTo>
                <a:close/>
                <a:moveTo>
                  <a:pt x="278" y="80"/>
                </a:moveTo>
                <a:cubicBezTo>
                  <a:pt x="336" y="80"/>
                  <a:pt x="336" y="80"/>
                  <a:pt x="336" y="80"/>
                </a:cubicBezTo>
                <a:cubicBezTo>
                  <a:pt x="336" y="138"/>
                  <a:pt x="336" y="138"/>
                  <a:pt x="336" y="138"/>
                </a:cubicBezTo>
                <a:cubicBezTo>
                  <a:pt x="278" y="138"/>
                  <a:pt x="278" y="138"/>
                  <a:pt x="278" y="138"/>
                </a:cubicBezTo>
                <a:lnTo>
                  <a:pt x="278" y="80"/>
                </a:lnTo>
                <a:close/>
                <a:moveTo>
                  <a:pt x="344" y="80"/>
                </a:moveTo>
                <a:cubicBezTo>
                  <a:pt x="402" y="80"/>
                  <a:pt x="402" y="80"/>
                  <a:pt x="402" y="80"/>
                </a:cubicBezTo>
                <a:cubicBezTo>
                  <a:pt x="402" y="138"/>
                  <a:pt x="402" y="138"/>
                  <a:pt x="402" y="138"/>
                </a:cubicBezTo>
                <a:cubicBezTo>
                  <a:pt x="344" y="138"/>
                  <a:pt x="344" y="138"/>
                  <a:pt x="344" y="138"/>
                </a:cubicBezTo>
                <a:lnTo>
                  <a:pt x="344" y="80"/>
                </a:lnTo>
                <a:close/>
                <a:moveTo>
                  <a:pt x="344" y="72"/>
                </a:moveTo>
                <a:cubicBezTo>
                  <a:pt x="344" y="20"/>
                  <a:pt x="344" y="20"/>
                  <a:pt x="344" y="20"/>
                </a:cubicBezTo>
                <a:cubicBezTo>
                  <a:pt x="364" y="20"/>
                  <a:pt x="384" y="20"/>
                  <a:pt x="402" y="20"/>
                </a:cubicBezTo>
                <a:cubicBezTo>
                  <a:pt x="402" y="72"/>
                  <a:pt x="402" y="72"/>
                  <a:pt x="402" y="72"/>
                </a:cubicBezTo>
                <a:lnTo>
                  <a:pt x="344" y="72"/>
                </a:lnTo>
                <a:close/>
                <a:moveTo>
                  <a:pt x="72" y="20"/>
                </a:moveTo>
                <a:cubicBezTo>
                  <a:pt x="72" y="72"/>
                  <a:pt x="72" y="72"/>
                  <a:pt x="72" y="72"/>
                </a:cubicBezTo>
                <a:cubicBezTo>
                  <a:pt x="20" y="72"/>
                  <a:pt x="20" y="72"/>
                  <a:pt x="20" y="72"/>
                </a:cubicBezTo>
                <a:cubicBezTo>
                  <a:pt x="20" y="43"/>
                  <a:pt x="20" y="23"/>
                  <a:pt x="20" y="20"/>
                </a:cubicBezTo>
                <a:cubicBezTo>
                  <a:pt x="23" y="20"/>
                  <a:pt x="43" y="20"/>
                  <a:pt x="72" y="20"/>
                </a:cubicBezTo>
                <a:close/>
                <a:moveTo>
                  <a:pt x="42" y="465"/>
                </a:moveTo>
                <a:cubicBezTo>
                  <a:pt x="74" y="424"/>
                  <a:pt x="183" y="286"/>
                  <a:pt x="193" y="273"/>
                </a:cubicBezTo>
                <a:cubicBezTo>
                  <a:pt x="206" y="281"/>
                  <a:pt x="246" y="304"/>
                  <a:pt x="246" y="304"/>
                </a:cubicBezTo>
                <a:cubicBezTo>
                  <a:pt x="251" y="307"/>
                  <a:pt x="257" y="306"/>
                  <a:pt x="261" y="301"/>
                </a:cubicBezTo>
                <a:cubicBezTo>
                  <a:pt x="261" y="301"/>
                  <a:pt x="347" y="203"/>
                  <a:pt x="359" y="189"/>
                </a:cubicBezTo>
                <a:cubicBezTo>
                  <a:pt x="369" y="196"/>
                  <a:pt x="389" y="209"/>
                  <a:pt x="389" y="209"/>
                </a:cubicBezTo>
                <a:cubicBezTo>
                  <a:pt x="394" y="212"/>
                  <a:pt x="401" y="211"/>
                  <a:pt x="405" y="206"/>
                </a:cubicBezTo>
                <a:cubicBezTo>
                  <a:pt x="481" y="110"/>
                  <a:pt x="481" y="110"/>
                  <a:pt x="481" y="110"/>
                </a:cubicBezTo>
                <a:cubicBezTo>
                  <a:pt x="481" y="133"/>
                  <a:pt x="481" y="133"/>
                  <a:pt x="481" y="133"/>
                </a:cubicBezTo>
                <a:cubicBezTo>
                  <a:pt x="481" y="139"/>
                  <a:pt x="487" y="145"/>
                  <a:pt x="493" y="145"/>
                </a:cubicBezTo>
                <a:cubicBezTo>
                  <a:pt x="500" y="145"/>
                  <a:pt x="505" y="139"/>
                  <a:pt x="505" y="133"/>
                </a:cubicBezTo>
                <a:cubicBezTo>
                  <a:pt x="505" y="76"/>
                  <a:pt x="505" y="76"/>
                  <a:pt x="505" y="76"/>
                </a:cubicBezTo>
                <a:cubicBezTo>
                  <a:pt x="505" y="76"/>
                  <a:pt x="505" y="76"/>
                  <a:pt x="505" y="76"/>
                </a:cubicBezTo>
                <a:cubicBezTo>
                  <a:pt x="505" y="75"/>
                  <a:pt x="505" y="74"/>
                  <a:pt x="505" y="74"/>
                </a:cubicBezTo>
                <a:cubicBezTo>
                  <a:pt x="505" y="74"/>
                  <a:pt x="505" y="74"/>
                  <a:pt x="505" y="73"/>
                </a:cubicBezTo>
                <a:cubicBezTo>
                  <a:pt x="505" y="73"/>
                  <a:pt x="505" y="72"/>
                  <a:pt x="505" y="71"/>
                </a:cubicBezTo>
                <a:cubicBezTo>
                  <a:pt x="504" y="71"/>
                  <a:pt x="504" y="71"/>
                  <a:pt x="504" y="71"/>
                </a:cubicBezTo>
                <a:cubicBezTo>
                  <a:pt x="504" y="71"/>
                  <a:pt x="504" y="70"/>
                  <a:pt x="504" y="70"/>
                </a:cubicBezTo>
                <a:cubicBezTo>
                  <a:pt x="504" y="70"/>
                  <a:pt x="503" y="69"/>
                  <a:pt x="503" y="69"/>
                </a:cubicBezTo>
                <a:cubicBezTo>
                  <a:pt x="503" y="69"/>
                  <a:pt x="503" y="69"/>
                  <a:pt x="503" y="69"/>
                </a:cubicBezTo>
                <a:cubicBezTo>
                  <a:pt x="503" y="68"/>
                  <a:pt x="502" y="68"/>
                  <a:pt x="502" y="68"/>
                </a:cubicBezTo>
                <a:cubicBezTo>
                  <a:pt x="502" y="68"/>
                  <a:pt x="502" y="67"/>
                  <a:pt x="502" y="67"/>
                </a:cubicBezTo>
                <a:cubicBezTo>
                  <a:pt x="501" y="67"/>
                  <a:pt x="501" y="67"/>
                  <a:pt x="500" y="66"/>
                </a:cubicBezTo>
                <a:cubicBezTo>
                  <a:pt x="500" y="66"/>
                  <a:pt x="500" y="66"/>
                  <a:pt x="500" y="66"/>
                </a:cubicBezTo>
                <a:cubicBezTo>
                  <a:pt x="499" y="66"/>
                  <a:pt x="499" y="65"/>
                  <a:pt x="498" y="65"/>
                </a:cubicBezTo>
                <a:cubicBezTo>
                  <a:pt x="498" y="65"/>
                  <a:pt x="498" y="65"/>
                  <a:pt x="498" y="65"/>
                </a:cubicBezTo>
                <a:cubicBezTo>
                  <a:pt x="497" y="65"/>
                  <a:pt x="497" y="64"/>
                  <a:pt x="496" y="64"/>
                </a:cubicBezTo>
                <a:cubicBezTo>
                  <a:pt x="496" y="64"/>
                  <a:pt x="496" y="64"/>
                  <a:pt x="495" y="64"/>
                </a:cubicBezTo>
                <a:cubicBezTo>
                  <a:pt x="495" y="64"/>
                  <a:pt x="494" y="64"/>
                  <a:pt x="494" y="64"/>
                </a:cubicBezTo>
                <a:cubicBezTo>
                  <a:pt x="494" y="64"/>
                  <a:pt x="494" y="64"/>
                  <a:pt x="493" y="64"/>
                </a:cubicBezTo>
                <a:cubicBezTo>
                  <a:pt x="493" y="64"/>
                  <a:pt x="493" y="64"/>
                  <a:pt x="493" y="64"/>
                </a:cubicBezTo>
                <a:cubicBezTo>
                  <a:pt x="493" y="64"/>
                  <a:pt x="492" y="64"/>
                  <a:pt x="491" y="64"/>
                </a:cubicBezTo>
                <a:cubicBezTo>
                  <a:pt x="491" y="64"/>
                  <a:pt x="491" y="64"/>
                  <a:pt x="491" y="64"/>
                </a:cubicBezTo>
                <a:cubicBezTo>
                  <a:pt x="491" y="64"/>
                  <a:pt x="491" y="64"/>
                  <a:pt x="491" y="64"/>
                </a:cubicBezTo>
                <a:cubicBezTo>
                  <a:pt x="438" y="76"/>
                  <a:pt x="438" y="76"/>
                  <a:pt x="438" y="76"/>
                </a:cubicBezTo>
                <a:cubicBezTo>
                  <a:pt x="432" y="77"/>
                  <a:pt x="428" y="84"/>
                  <a:pt x="429" y="90"/>
                </a:cubicBezTo>
                <a:cubicBezTo>
                  <a:pt x="431" y="97"/>
                  <a:pt x="437" y="101"/>
                  <a:pt x="443" y="99"/>
                </a:cubicBezTo>
                <a:cubicBezTo>
                  <a:pt x="443" y="99"/>
                  <a:pt x="454" y="97"/>
                  <a:pt x="463" y="95"/>
                </a:cubicBezTo>
                <a:cubicBezTo>
                  <a:pt x="439" y="125"/>
                  <a:pt x="402" y="171"/>
                  <a:pt x="393" y="183"/>
                </a:cubicBezTo>
                <a:cubicBezTo>
                  <a:pt x="382" y="176"/>
                  <a:pt x="363" y="163"/>
                  <a:pt x="363" y="163"/>
                </a:cubicBezTo>
                <a:cubicBezTo>
                  <a:pt x="358" y="160"/>
                  <a:pt x="352" y="161"/>
                  <a:pt x="348" y="165"/>
                </a:cubicBezTo>
                <a:cubicBezTo>
                  <a:pt x="348" y="165"/>
                  <a:pt x="261" y="265"/>
                  <a:pt x="249" y="278"/>
                </a:cubicBezTo>
                <a:cubicBezTo>
                  <a:pt x="236" y="271"/>
                  <a:pt x="196" y="247"/>
                  <a:pt x="196" y="247"/>
                </a:cubicBezTo>
                <a:cubicBezTo>
                  <a:pt x="191" y="244"/>
                  <a:pt x="184" y="245"/>
                  <a:pt x="181" y="250"/>
                </a:cubicBezTo>
                <a:cubicBezTo>
                  <a:pt x="20" y="454"/>
                  <a:pt x="20" y="454"/>
                  <a:pt x="20" y="454"/>
                </a:cubicBezTo>
                <a:cubicBezTo>
                  <a:pt x="20" y="450"/>
                  <a:pt x="20" y="445"/>
                  <a:pt x="20" y="439"/>
                </a:cubicBezTo>
                <a:cubicBezTo>
                  <a:pt x="20" y="432"/>
                  <a:pt x="20" y="423"/>
                  <a:pt x="20" y="412"/>
                </a:cubicBezTo>
                <a:cubicBezTo>
                  <a:pt x="41" y="412"/>
                  <a:pt x="41" y="412"/>
                  <a:pt x="41" y="412"/>
                </a:cubicBezTo>
                <a:cubicBezTo>
                  <a:pt x="48" y="404"/>
                  <a:pt x="48" y="404"/>
                  <a:pt x="48" y="404"/>
                </a:cubicBezTo>
                <a:cubicBezTo>
                  <a:pt x="20" y="404"/>
                  <a:pt x="20" y="404"/>
                  <a:pt x="20" y="404"/>
                </a:cubicBezTo>
                <a:cubicBezTo>
                  <a:pt x="20" y="387"/>
                  <a:pt x="20" y="367"/>
                  <a:pt x="20" y="346"/>
                </a:cubicBezTo>
                <a:cubicBezTo>
                  <a:pt x="72" y="346"/>
                  <a:pt x="72" y="346"/>
                  <a:pt x="72" y="346"/>
                </a:cubicBezTo>
                <a:cubicBezTo>
                  <a:pt x="72" y="374"/>
                  <a:pt x="72" y="374"/>
                  <a:pt x="72" y="374"/>
                </a:cubicBezTo>
                <a:cubicBezTo>
                  <a:pt x="80" y="364"/>
                  <a:pt x="80" y="364"/>
                  <a:pt x="80" y="364"/>
                </a:cubicBezTo>
                <a:cubicBezTo>
                  <a:pt x="80" y="346"/>
                  <a:pt x="80" y="346"/>
                  <a:pt x="80" y="346"/>
                </a:cubicBezTo>
                <a:cubicBezTo>
                  <a:pt x="94" y="346"/>
                  <a:pt x="94" y="346"/>
                  <a:pt x="94" y="346"/>
                </a:cubicBezTo>
                <a:cubicBezTo>
                  <a:pt x="101" y="338"/>
                  <a:pt x="101" y="338"/>
                  <a:pt x="101" y="338"/>
                </a:cubicBezTo>
                <a:cubicBezTo>
                  <a:pt x="80" y="338"/>
                  <a:pt x="80" y="338"/>
                  <a:pt x="80" y="338"/>
                </a:cubicBezTo>
                <a:cubicBezTo>
                  <a:pt x="80" y="279"/>
                  <a:pt x="80" y="279"/>
                  <a:pt x="80" y="279"/>
                </a:cubicBezTo>
                <a:cubicBezTo>
                  <a:pt x="138" y="279"/>
                  <a:pt x="138" y="279"/>
                  <a:pt x="138" y="279"/>
                </a:cubicBezTo>
                <a:cubicBezTo>
                  <a:pt x="138" y="291"/>
                  <a:pt x="138" y="291"/>
                  <a:pt x="138" y="291"/>
                </a:cubicBezTo>
                <a:cubicBezTo>
                  <a:pt x="146" y="281"/>
                  <a:pt x="146" y="281"/>
                  <a:pt x="146" y="281"/>
                </a:cubicBezTo>
                <a:cubicBezTo>
                  <a:pt x="146" y="279"/>
                  <a:pt x="146" y="279"/>
                  <a:pt x="146" y="279"/>
                </a:cubicBezTo>
                <a:cubicBezTo>
                  <a:pt x="147" y="279"/>
                  <a:pt x="147" y="279"/>
                  <a:pt x="147" y="279"/>
                </a:cubicBezTo>
                <a:cubicBezTo>
                  <a:pt x="153" y="271"/>
                  <a:pt x="153" y="271"/>
                  <a:pt x="153" y="271"/>
                </a:cubicBezTo>
                <a:cubicBezTo>
                  <a:pt x="146" y="271"/>
                  <a:pt x="146" y="271"/>
                  <a:pt x="146" y="271"/>
                </a:cubicBezTo>
                <a:cubicBezTo>
                  <a:pt x="146" y="213"/>
                  <a:pt x="146" y="213"/>
                  <a:pt x="146" y="213"/>
                </a:cubicBezTo>
                <a:cubicBezTo>
                  <a:pt x="204" y="213"/>
                  <a:pt x="204" y="213"/>
                  <a:pt x="204" y="213"/>
                </a:cubicBezTo>
                <a:cubicBezTo>
                  <a:pt x="204" y="242"/>
                  <a:pt x="204" y="242"/>
                  <a:pt x="204" y="242"/>
                </a:cubicBezTo>
                <a:cubicBezTo>
                  <a:pt x="206" y="243"/>
                  <a:pt x="209" y="245"/>
                  <a:pt x="212" y="247"/>
                </a:cubicBezTo>
                <a:cubicBezTo>
                  <a:pt x="212" y="213"/>
                  <a:pt x="212" y="213"/>
                  <a:pt x="212" y="213"/>
                </a:cubicBezTo>
                <a:cubicBezTo>
                  <a:pt x="270" y="213"/>
                  <a:pt x="270" y="213"/>
                  <a:pt x="270" y="213"/>
                </a:cubicBezTo>
                <a:cubicBezTo>
                  <a:pt x="270" y="242"/>
                  <a:pt x="270" y="242"/>
                  <a:pt x="270" y="242"/>
                </a:cubicBezTo>
                <a:cubicBezTo>
                  <a:pt x="273" y="239"/>
                  <a:pt x="275" y="236"/>
                  <a:pt x="278" y="233"/>
                </a:cubicBezTo>
                <a:cubicBezTo>
                  <a:pt x="278" y="213"/>
                  <a:pt x="278" y="213"/>
                  <a:pt x="278" y="213"/>
                </a:cubicBezTo>
                <a:cubicBezTo>
                  <a:pt x="295" y="213"/>
                  <a:pt x="295" y="213"/>
                  <a:pt x="295" y="213"/>
                </a:cubicBezTo>
                <a:cubicBezTo>
                  <a:pt x="298" y="210"/>
                  <a:pt x="300" y="207"/>
                  <a:pt x="302" y="205"/>
                </a:cubicBezTo>
                <a:cubicBezTo>
                  <a:pt x="278" y="205"/>
                  <a:pt x="278" y="205"/>
                  <a:pt x="278" y="205"/>
                </a:cubicBezTo>
                <a:cubicBezTo>
                  <a:pt x="278" y="146"/>
                  <a:pt x="278" y="146"/>
                  <a:pt x="278" y="146"/>
                </a:cubicBezTo>
                <a:cubicBezTo>
                  <a:pt x="336" y="146"/>
                  <a:pt x="336" y="146"/>
                  <a:pt x="336" y="146"/>
                </a:cubicBezTo>
                <a:cubicBezTo>
                  <a:pt x="336" y="166"/>
                  <a:pt x="336" y="166"/>
                  <a:pt x="336" y="166"/>
                </a:cubicBezTo>
                <a:cubicBezTo>
                  <a:pt x="340" y="162"/>
                  <a:pt x="342" y="160"/>
                  <a:pt x="342" y="160"/>
                </a:cubicBezTo>
                <a:cubicBezTo>
                  <a:pt x="342" y="159"/>
                  <a:pt x="343" y="158"/>
                  <a:pt x="344" y="158"/>
                </a:cubicBezTo>
                <a:cubicBezTo>
                  <a:pt x="344" y="146"/>
                  <a:pt x="344" y="146"/>
                  <a:pt x="344" y="146"/>
                </a:cubicBezTo>
                <a:cubicBezTo>
                  <a:pt x="402" y="146"/>
                  <a:pt x="402" y="146"/>
                  <a:pt x="402" y="146"/>
                </a:cubicBezTo>
                <a:cubicBezTo>
                  <a:pt x="402" y="158"/>
                  <a:pt x="402" y="158"/>
                  <a:pt x="402" y="158"/>
                </a:cubicBezTo>
                <a:cubicBezTo>
                  <a:pt x="405" y="155"/>
                  <a:pt x="407" y="152"/>
                  <a:pt x="410" y="148"/>
                </a:cubicBezTo>
                <a:cubicBezTo>
                  <a:pt x="410" y="146"/>
                  <a:pt x="410" y="146"/>
                  <a:pt x="410" y="146"/>
                </a:cubicBezTo>
                <a:cubicBezTo>
                  <a:pt x="412" y="146"/>
                  <a:pt x="412" y="146"/>
                  <a:pt x="412" y="146"/>
                </a:cubicBezTo>
                <a:cubicBezTo>
                  <a:pt x="414" y="144"/>
                  <a:pt x="416" y="141"/>
                  <a:pt x="418" y="138"/>
                </a:cubicBezTo>
                <a:cubicBezTo>
                  <a:pt x="410" y="138"/>
                  <a:pt x="410" y="138"/>
                  <a:pt x="410" y="138"/>
                </a:cubicBezTo>
                <a:cubicBezTo>
                  <a:pt x="410" y="80"/>
                  <a:pt x="410" y="80"/>
                  <a:pt x="410" y="80"/>
                </a:cubicBezTo>
                <a:cubicBezTo>
                  <a:pt x="422" y="80"/>
                  <a:pt x="422" y="80"/>
                  <a:pt x="422" y="80"/>
                </a:cubicBezTo>
                <a:cubicBezTo>
                  <a:pt x="424" y="77"/>
                  <a:pt x="426" y="74"/>
                  <a:pt x="429" y="72"/>
                </a:cubicBezTo>
                <a:cubicBezTo>
                  <a:pt x="410" y="72"/>
                  <a:pt x="410" y="72"/>
                  <a:pt x="410" y="72"/>
                </a:cubicBezTo>
                <a:cubicBezTo>
                  <a:pt x="410" y="20"/>
                  <a:pt x="410" y="20"/>
                  <a:pt x="410" y="20"/>
                </a:cubicBezTo>
                <a:cubicBezTo>
                  <a:pt x="432" y="20"/>
                  <a:pt x="452" y="20"/>
                  <a:pt x="468" y="20"/>
                </a:cubicBezTo>
                <a:cubicBezTo>
                  <a:pt x="468" y="61"/>
                  <a:pt x="468" y="61"/>
                  <a:pt x="468" y="61"/>
                </a:cubicBezTo>
                <a:cubicBezTo>
                  <a:pt x="476" y="59"/>
                  <a:pt x="476" y="59"/>
                  <a:pt x="476" y="59"/>
                </a:cubicBezTo>
                <a:cubicBezTo>
                  <a:pt x="476" y="20"/>
                  <a:pt x="476" y="20"/>
                  <a:pt x="476" y="20"/>
                </a:cubicBezTo>
                <a:cubicBezTo>
                  <a:pt x="506" y="20"/>
                  <a:pt x="525" y="20"/>
                  <a:pt x="528" y="20"/>
                </a:cubicBezTo>
                <a:cubicBezTo>
                  <a:pt x="528" y="23"/>
                  <a:pt x="528" y="43"/>
                  <a:pt x="528" y="72"/>
                </a:cubicBezTo>
                <a:cubicBezTo>
                  <a:pt x="513" y="72"/>
                  <a:pt x="513" y="72"/>
                  <a:pt x="513" y="72"/>
                </a:cubicBezTo>
                <a:cubicBezTo>
                  <a:pt x="513" y="72"/>
                  <a:pt x="513" y="72"/>
                  <a:pt x="513" y="73"/>
                </a:cubicBezTo>
                <a:cubicBezTo>
                  <a:pt x="513" y="74"/>
                  <a:pt x="513" y="74"/>
                  <a:pt x="513" y="75"/>
                </a:cubicBezTo>
                <a:cubicBezTo>
                  <a:pt x="513" y="76"/>
                  <a:pt x="513" y="76"/>
                  <a:pt x="513" y="76"/>
                </a:cubicBezTo>
                <a:cubicBezTo>
                  <a:pt x="513" y="80"/>
                  <a:pt x="513" y="80"/>
                  <a:pt x="513" y="80"/>
                </a:cubicBezTo>
                <a:cubicBezTo>
                  <a:pt x="528" y="80"/>
                  <a:pt x="528" y="80"/>
                  <a:pt x="528" y="80"/>
                </a:cubicBezTo>
                <a:cubicBezTo>
                  <a:pt x="528" y="97"/>
                  <a:pt x="528" y="117"/>
                  <a:pt x="528" y="138"/>
                </a:cubicBezTo>
                <a:cubicBezTo>
                  <a:pt x="512" y="138"/>
                  <a:pt x="512" y="138"/>
                  <a:pt x="512" y="138"/>
                </a:cubicBezTo>
                <a:cubicBezTo>
                  <a:pt x="512" y="141"/>
                  <a:pt x="510" y="144"/>
                  <a:pt x="508" y="146"/>
                </a:cubicBezTo>
                <a:cubicBezTo>
                  <a:pt x="528" y="146"/>
                  <a:pt x="528" y="146"/>
                  <a:pt x="528" y="146"/>
                </a:cubicBezTo>
                <a:cubicBezTo>
                  <a:pt x="528" y="165"/>
                  <a:pt x="528" y="185"/>
                  <a:pt x="528" y="205"/>
                </a:cubicBezTo>
                <a:cubicBezTo>
                  <a:pt x="476" y="205"/>
                  <a:pt x="476" y="205"/>
                  <a:pt x="476" y="205"/>
                </a:cubicBezTo>
                <a:cubicBezTo>
                  <a:pt x="476" y="146"/>
                  <a:pt x="476" y="146"/>
                  <a:pt x="476" y="146"/>
                </a:cubicBezTo>
                <a:cubicBezTo>
                  <a:pt x="479" y="146"/>
                  <a:pt x="479" y="146"/>
                  <a:pt x="479" y="146"/>
                </a:cubicBezTo>
                <a:cubicBezTo>
                  <a:pt x="476" y="143"/>
                  <a:pt x="474" y="138"/>
                  <a:pt x="473" y="133"/>
                </a:cubicBezTo>
                <a:cubicBezTo>
                  <a:pt x="463" y="146"/>
                  <a:pt x="463" y="146"/>
                  <a:pt x="463" y="146"/>
                </a:cubicBezTo>
                <a:cubicBezTo>
                  <a:pt x="468" y="146"/>
                  <a:pt x="468" y="146"/>
                  <a:pt x="468" y="146"/>
                </a:cubicBezTo>
                <a:cubicBezTo>
                  <a:pt x="468" y="205"/>
                  <a:pt x="468" y="205"/>
                  <a:pt x="468" y="205"/>
                </a:cubicBezTo>
                <a:cubicBezTo>
                  <a:pt x="416" y="205"/>
                  <a:pt x="416" y="205"/>
                  <a:pt x="416" y="205"/>
                </a:cubicBezTo>
                <a:cubicBezTo>
                  <a:pt x="411" y="211"/>
                  <a:pt x="411" y="211"/>
                  <a:pt x="411" y="211"/>
                </a:cubicBezTo>
                <a:cubicBezTo>
                  <a:pt x="409" y="214"/>
                  <a:pt x="406" y="216"/>
                  <a:pt x="402" y="218"/>
                </a:cubicBezTo>
                <a:cubicBezTo>
                  <a:pt x="402" y="271"/>
                  <a:pt x="402" y="271"/>
                  <a:pt x="402" y="271"/>
                </a:cubicBezTo>
                <a:cubicBezTo>
                  <a:pt x="344" y="271"/>
                  <a:pt x="344" y="271"/>
                  <a:pt x="344" y="271"/>
                </a:cubicBezTo>
                <a:cubicBezTo>
                  <a:pt x="344" y="218"/>
                  <a:pt x="344" y="218"/>
                  <a:pt x="344" y="218"/>
                </a:cubicBezTo>
                <a:cubicBezTo>
                  <a:pt x="342" y="221"/>
                  <a:pt x="339" y="224"/>
                  <a:pt x="336" y="227"/>
                </a:cubicBezTo>
                <a:cubicBezTo>
                  <a:pt x="336" y="271"/>
                  <a:pt x="336" y="271"/>
                  <a:pt x="336" y="271"/>
                </a:cubicBezTo>
                <a:cubicBezTo>
                  <a:pt x="298" y="271"/>
                  <a:pt x="298" y="271"/>
                  <a:pt x="298" y="271"/>
                </a:cubicBezTo>
                <a:cubicBezTo>
                  <a:pt x="295" y="274"/>
                  <a:pt x="293" y="277"/>
                  <a:pt x="291" y="279"/>
                </a:cubicBezTo>
                <a:cubicBezTo>
                  <a:pt x="336" y="279"/>
                  <a:pt x="336" y="279"/>
                  <a:pt x="336" y="279"/>
                </a:cubicBezTo>
                <a:cubicBezTo>
                  <a:pt x="336" y="338"/>
                  <a:pt x="336" y="338"/>
                  <a:pt x="336" y="338"/>
                </a:cubicBezTo>
                <a:cubicBezTo>
                  <a:pt x="278" y="338"/>
                  <a:pt x="278" y="338"/>
                  <a:pt x="278" y="338"/>
                </a:cubicBezTo>
                <a:cubicBezTo>
                  <a:pt x="278" y="293"/>
                  <a:pt x="278" y="293"/>
                  <a:pt x="278" y="293"/>
                </a:cubicBezTo>
                <a:cubicBezTo>
                  <a:pt x="275" y="297"/>
                  <a:pt x="272" y="300"/>
                  <a:pt x="270" y="303"/>
                </a:cubicBezTo>
                <a:cubicBezTo>
                  <a:pt x="270" y="338"/>
                  <a:pt x="270" y="338"/>
                  <a:pt x="270" y="338"/>
                </a:cubicBezTo>
                <a:cubicBezTo>
                  <a:pt x="212" y="338"/>
                  <a:pt x="212" y="338"/>
                  <a:pt x="212" y="338"/>
                </a:cubicBezTo>
                <a:cubicBezTo>
                  <a:pt x="212" y="293"/>
                  <a:pt x="212" y="293"/>
                  <a:pt x="212" y="293"/>
                </a:cubicBezTo>
                <a:cubicBezTo>
                  <a:pt x="209" y="292"/>
                  <a:pt x="207" y="290"/>
                  <a:pt x="204" y="289"/>
                </a:cubicBezTo>
                <a:cubicBezTo>
                  <a:pt x="204" y="338"/>
                  <a:pt x="204" y="338"/>
                  <a:pt x="204" y="338"/>
                </a:cubicBezTo>
                <a:cubicBezTo>
                  <a:pt x="152" y="338"/>
                  <a:pt x="152" y="338"/>
                  <a:pt x="152" y="338"/>
                </a:cubicBezTo>
                <a:cubicBezTo>
                  <a:pt x="147" y="343"/>
                  <a:pt x="143" y="349"/>
                  <a:pt x="138" y="355"/>
                </a:cubicBezTo>
                <a:cubicBezTo>
                  <a:pt x="138" y="404"/>
                  <a:pt x="138" y="404"/>
                  <a:pt x="138" y="404"/>
                </a:cubicBezTo>
                <a:cubicBezTo>
                  <a:pt x="99" y="404"/>
                  <a:pt x="99" y="404"/>
                  <a:pt x="99" y="404"/>
                </a:cubicBezTo>
                <a:cubicBezTo>
                  <a:pt x="97" y="407"/>
                  <a:pt x="95" y="410"/>
                  <a:pt x="93" y="412"/>
                </a:cubicBezTo>
                <a:cubicBezTo>
                  <a:pt x="138" y="412"/>
                  <a:pt x="138" y="412"/>
                  <a:pt x="138" y="412"/>
                </a:cubicBezTo>
                <a:cubicBezTo>
                  <a:pt x="138" y="465"/>
                  <a:pt x="138" y="465"/>
                  <a:pt x="138" y="465"/>
                </a:cubicBezTo>
                <a:cubicBezTo>
                  <a:pt x="116" y="465"/>
                  <a:pt x="97" y="465"/>
                  <a:pt x="80" y="465"/>
                </a:cubicBezTo>
                <a:cubicBezTo>
                  <a:pt x="80" y="428"/>
                  <a:pt x="80" y="428"/>
                  <a:pt x="80" y="428"/>
                </a:cubicBezTo>
                <a:cubicBezTo>
                  <a:pt x="77" y="432"/>
                  <a:pt x="74" y="435"/>
                  <a:pt x="72" y="438"/>
                </a:cubicBezTo>
                <a:cubicBezTo>
                  <a:pt x="72" y="465"/>
                  <a:pt x="72" y="465"/>
                  <a:pt x="72" y="465"/>
                </a:cubicBezTo>
                <a:cubicBezTo>
                  <a:pt x="64" y="465"/>
                  <a:pt x="57" y="465"/>
                  <a:pt x="51" y="465"/>
                </a:cubicBezTo>
                <a:cubicBezTo>
                  <a:pt x="48" y="465"/>
                  <a:pt x="45" y="465"/>
                  <a:pt x="42" y="465"/>
                </a:cubicBezTo>
                <a:close/>
                <a:moveTo>
                  <a:pt x="476" y="465"/>
                </a:moveTo>
                <a:cubicBezTo>
                  <a:pt x="476" y="412"/>
                  <a:pt x="476" y="412"/>
                  <a:pt x="476" y="412"/>
                </a:cubicBezTo>
                <a:cubicBezTo>
                  <a:pt x="528" y="412"/>
                  <a:pt x="528" y="412"/>
                  <a:pt x="528" y="412"/>
                </a:cubicBezTo>
                <a:cubicBezTo>
                  <a:pt x="528" y="441"/>
                  <a:pt x="528" y="461"/>
                  <a:pt x="528" y="465"/>
                </a:cubicBezTo>
                <a:cubicBezTo>
                  <a:pt x="525" y="465"/>
                  <a:pt x="506" y="465"/>
                  <a:pt x="476" y="46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smtClean="0">
              <a:ln>
                <a:noFill/>
              </a:ln>
              <a:solidFill>
                <a:srgbClr val="363535"/>
              </a:solidFill>
              <a:effectLst/>
              <a:uLnTx/>
              <a:uFillTx/>
              <a:latin typeface="Segoe UI"/>
              <a:sym typeface="Segoe UI"/>
            </a:endParaRPr>
          </a:p>
        </p:txBody>
      </p:sp>
      <p:pic>
        <p:nvPicPr>
          <p:cNvPr id="23" name="Picture 3" descr="\\MAGNUM\Projects\Microsoft\Cloud Power FY12\Design\Icons\PNGs\Scalable_Elastic_4.png"/>
          <p:cNvPicPr>
            <a:picLocks noChangeAspect="1" noChangeArrowheads="1"/>
          </p:cNvPicPr>
          <p:nvPr/>
        </p:nvPicPr>
        <p:blipFill>
          <a:blip r:embed="rId12" cstate="print">
            <a:lum bright="100000"/>
          </a:blip>
          <a:srcRect/>
          <a:stretch>
            <a:fillRect/>
          </a:stretch>
        </p:blipFill>
        <p:spPr bwMode="auto">
          <a:xfrm>
            <a:off x="4345071" y="2375145"/>
            <a:ext cx="890592" cy="890360"/>
          </a:xfrm>
          <a:prstGeom prst="rect">
            <a:avLst/>
          </a:prstGeom>
          <a:noFill/>
        </p:spPr>
      </p:pic>
      <p:pic>
        <p:nvPicPr>
          <p:cNvPr id="25" name="Picture 2" descr="C:\Users\Jonahs\Dropbox\Projects SCOTT\MEET Windows Azure\source\Background\tile-icon-storag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011" y="2370736"/>
            <a:ext cx="717465" cy="76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Freeform 72"/>
          <p:cNvSpPr>
            <a:spLocks noEditPoints="1"/>
          </p:cNvSpPr>
          <p:nvPr/>
        </p:nvSpPr>
        <p:spPr bwMode="auto">
          <a:xfrm>
            <a:off x="9316402" y="2547781"/>
            <a:ext cx="586387" cy="587443"/>
          </a:xfrm>
          <a:custGeom>
            <a:avLst/>
            <a:gdLst>
              <a:gd name="T0" fmla="*/ 337 w 411"/>
              <a:gd name="T1" fmla="*/ 198 h 412"/>
              <a:gd name="T2" fmla="*/ 284 w 411"/>
              <a:gd name="T3" fmla="*/ 220 h 412"/>
              <a:gd name="T4" fmla="*/ 249 w 411"/>
              <a:gd name="T5" fmla="*/ 185 h 412"/>
              <a:gd name="T6" fmla="*/ 283 w 411"/>
              <a:gd name="T7" fmla="*/ 107 h 412"/>
              <a:gd name="T8" fmla="*/ 176 w 411"/>
              <a:gd name="T9" fmla="*/ 0 h 412"/>
              <a:gd name="T10" fmla="*/ 68 w 411"/>
              <a:gd name="T11" fmla="*/ 107 h 412"/>
              <a:gd name="T12" fmla="*/ 116 w 411"/>
              <a:gd name="T13" fmla="*/ 196 h 412"/>
              <a:gd name="T14" fmla="*/ 96 w 411"/>
              <a:gd name="T15" fmla="*/ 266 h 412"/>
              <a:gd name="T16" fmla="*/ 74 w 411"/>
              <a:gd name="T17" fmla="*/ 263 h 412"/>
              <a:gd name="T18" fmla="*/ 0 w 411"/>
              <a:gd name="T19" fmla="*/ 337 h 412"/>
              <a:gd name="T20" fmla="*/ 74 w 411"/>
              <a:gd name="T21" fmla="*/ 412 h 412"/>
              <a:gd name="T22" fmla="*/ 149 w 411"/>
              <a:gd name="T23" fmla="*/ 337 h 412"/>
              <a:gd name="T24" fmla="*/ 110 w 411"/>
              <a:gd name="T25" fmla="*/ 272 h 412"/>
              <a:gd name="T26" fmla="*/ 130 w 411"/>
              <a:gd name="T27" fmla="*/ 204 h 412"/>
              <a:gd name="T28" fmla="*/ 176 w 411"/>
              <a:gd name="T29" fmla="*/ 214 h 412"/>
              <a:gd name="T30" fmla="*/ 238 w 411"/>
              <a:gd name="T31" fmla="*/ 195 h 412"/>
              <a:gd name="T32" fmla="*/ 275 w 411"/>
              <a:gd name="T33" fmla="*/ 232 h 412"/>
              <a:gd name="T34" fmla="*/ 262 w 411"/>
              <a:gd name="T35" fmla="*/ 273 h 412"/>
              <a:gd name="T36" fmla="*/ 337 w 411"/>
              <a:gd name="T37" fmla="*/ 347 h 412"/>
              <a:gd name="T38" fmla="*/ 411 w 411"/>
              <a:gd name="T39" fmla="*/ 273 h 412"/>
              <a:gd name="T40" fmla="*/ 337 w 411"/>
              <a:gd name="T41" fmla="*/ 198 h 412"/>
              <a:gd name="T42" fmla="*/ 134 w 411"/>
              <a:gd name="T43" fmla="*/ 337 h 412"/>
              <a:gd name="T44" fmla="*/ 74 w 411"/>
              <a:gd name="T45" fmla="*/ 397 h 412"/>
              <a:gd name="T46" fmla="*/ 14 w 411"/>
              <a:gd name="T47" fmla="*/ 337 h 412"/>
              <a:gd name="T48" fmla="*/ 74 w 411"/>
              <a:gd name="T49" fmla="*/ 278 h 412"/>
              <a:gd name="T50" fmla="*/ 134 w 411"/>
              <a:gd name="T51" fmla="*/ 337 h 412"/>
              <a:gd name="T52" fmla="*/ 83 w 411"/>
              <a:gd name="T53" fmla="*/ 107 h 412"/>
              <a:gd name="T54" fmla="*/ 176 w 411"/>
              <a:gd name="T55" fmla="*/ 14 h 412"/>
              <a:gd name="T56" fmla="*/ 268 w 411"/>
              <a:gd name="T57" fmla="*/ 107 h 412"/>
              <a:gd name="T58" fmla="*/ 176 w 411"/>
              <a:gd name="T59" fmla="*/ 200 h 412"/>
              <a:gd name="T60" fmla="*/ 83 w 411"/>
              <a:gd name="T61" fmla="*/ 107 h 412"/>
              <a:gd name="T62" fmla="*/ 337 w 411"/>
              <a:gd name="T63" fmla="*/ 332 h 412"/>
              <a:gd name="T64" fmla="*/ 277 w 411"/>
              <a:gd name="T65" fmla="*/ 273 h 412"/>
              <a:gd name="T66" fmla="*/ 337 w 411"/>
              <a:gd name="T67" fmla="*/ 213 h 412"/>
              <a:gd name="T68" fmla="*/ 397 w 411"/>
              <a:gd name="T69" fmla="*/ 273 h 412"/>
              <a:gd name="T70" fmla="*/ 337 w 411"/>
              <a:gd name="T71" fmla="*/ 332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11" h="412">
                <a:moveTo>
                  <a:pt x="337" y="198"/>
                </a:moveTo>
                <a:cubicBezTo>
                  <a:pt x="316" y="198"/>
                  <a:pt x="298" y="206"/>
                  <a:pt x="284" y="220"/>
                </a:cubicBezTo>
                <a:cubicBezTo>
                  <a:pt x="249" y="185"/>
                  <a:pt x="249" y="185"/>
                  <a:pt x="249" y="185"/>
                </a:cubicBezTo>
                <a:cubicBezTo>
                  <a:pt x="270" y="166"/>
                  <a:pt x="283" y="138"/>
                  <a:pt x="283" y="107"/>
                </a:cubicBezTo>
                <a:cubicBezTo>
                  <a:pt x="283" y="48"/>
                  <a:pt x="235" y="0"/>
                  <a:pt x="176" y="0"/>
                </a:cubicBezTo>
                <a:cubicBezTo>
                  <a:pt x="117" y="0"/>
                  <a:pt x="68" y="48"/>
                  <a:pt x="68" y="107"/>
                </a:cubicBezTo>
                <a:cubicBezTo>
                  <a:pt x="68" y="144"/>
                  <a:pt x="88" y="177"/>
                  <a:pt x="116" y="196"/>
                </a:cubicBezTo>
                <a:cubicBezTo>
                  <a:pt x="96" y="266"/>
                  <a:pt x="96" y="266"/>
                  <a:pt x="96" y="266"/>
                </a:cubicBezTo>
                <a:cubicBezTo>
                  <a:pt x="89" y="264"/>
                  <a:pt x="82" y="263"/>
                  <a:pt x="74" y="263"/>
                </a:cubicBezTo>
                <a:cubicBezTo>
                  <a:pt x="33" y="263"/>
                  <a:pt x="0" y="296"/>
                  <a:pt x="0" y="337"/>
                </a:cubicBezTo>
                <a:cubicBezTo>
                  <a:pt x="0" y="378"/>
                  <a:pt x="33" y="412"/>
                  <a:pt x="74" y="412"/>
                </a:cubicBezTo>
                <a:cubicBezTo>
                  <a:pt x="115" y="412"/>
                  <a:pt x="149" y="378"/>
                  <a:pt x="149" y="337"/>
                </a:cubicBezTo>
                <a:cubicBezTo>
                  <a:pt x="149" y="309"/>
                  <a:pt x="133" y="284"/>
                  <a:pt x="110" y="272"/>
                </a:cubicBezTo>
                <a:cubicBezTo>
                  <a:pt x="130" y="204"/>
                  <a:pt x="130" y="204"/>
                  <a:pt x="130" y="204"/>
                </a:cubicBezTo>
                <a:cubicBezTo>
                  <a:pt x="144" y="210"/>
                  <a:pt x="159" y="214"/>
                  <a:pt x="176" y="214"/>
                </a:cubicBezTo>
                <a:cubicBezTo>
                  <a:pt x="199" y="214"/>
                  <a:pt x="220" y="207"/>
                  <a:pt x="238" y="195"/>
                </a:cubicBezTo>
                <a:cubicBezTo>
                  <a:pt x="275" y="232"/>
                  <a:pt x="275" y="232"/>
                  <a:pt x="275" y="232"/>
                </a:cubicBezTo>
                <a:cubicBezTo>
                  <a:pt x="267" y="243"/>
                  <a:pt x="262" y="257"/>
                  <a:pt x="262" y="273"/>
                </a:cubicBezTo>
                <a:cubicBezTo>
                  <a:pt x="262" y="314"/>
                  <a:pt x="296" y="347"/>
                  <a:pt x="337" y="347"/>
                </a:cubicBezTo>
                <a:cubicBezTo>
                  <a:pt x="378" y="347"/>
                  <a:pt x="411" y="314"/>
                  <a:pt x="411" y="273"/>
                </a:cubicBezTo>
                <a:cubicBezTo>
                  <a:pt x="411" y="231"/>
                  <a:pt x="378" y="198"/>
                  <a:pt x="337" y="198"/>
                </a:cubicBezTo>
                <a:close/>
                <a:moveTo>
                  <a:pt x="134" y="337"/>
                </a:moveTo>
                <a:cubicBezTo>
                  <a:pt x="134" y="370"/>
                  <a:pt x="107" y="397"/>
                  <a:pt x="74" y="397"/>
                </a:cubicBezTo>
                <a:cubicBezTo>
                  <a:pt x="41" y="397"/>
                  <a:pt x="14" y="370"/>
                  <a:pt x="14" y="337"/>
                </a:cubicBezTo>
                <a:cubicBezTo>
                  <a:pt x="14" y="304"/>
                  <a:pt x="41" y="278"/>
                  <a:pt x="74" y="278"/>
                </a:cubicBezTo>
                <a:cubicBezTo>
                  <a:pt x="107" y="278"/>
                  <a:pt x="134" y="304"/>
                  <a:pt x="134" y="337"/>
                </a:cubicBezTo>
                <a:close/>
                <a:moveTo>
                  <a:pt x="83" y="107"/>
                </a:moveTo>
                <a:cubicBezTo>
                  <a:pt x="83" y="56"/>
                  <a:pt x="125" y="14"/>
                  <a:pt x="176" y="14"/>
                </a:cubicBezTo>
                <a:cubicBezTo>
                  <a:pt x="227" y="14"/>
                  <a:pt x="268" y="56"/>
                  <a:pt x="268" y="107"/>
                </a:cubicBezTo>
                <a:cubicBezTo>
                  <a:pt x="268" y="158"/>
                  <a:pt x="227" y="200"/>
                  <a:pt x="176" y="200"/>
                </a:cubicBezTo>
                <a:cubicBezTo>
                  <a:pt x="125" y="200"/>
                  <a:pt x="83" y="158"/>
                  <a:pt x="83" y="107"/>
                </a:cubicBezTo>
                <a:close/>
                <a:moveTo>
                  <a:pt x="337" y="332"/>
                </a:moveTo>
                <a:cubicBezTo>
                  <a:pt x="304" y="332"/>
                  <a:pt x="277" y="306"/>
                  <a:pt x="277" y="273"/>
                </a:cubicBezTo>
                <a:cubicBezTo>
                  <a:pt x="277" y="240"/>
                  <a:pt x="304" y="213"/>
                  <a:pt x="337" y="213"/>
                </a:cubicBezTo>
                <a:cubicBezTo>
                  <a:pt x="370" y="213"/>
                  <a:pt x="397" y="240"/>
                  <a:pt x="397" y="273"/>
                </a:cubicBezTo>
                <a:cubicBezTo>
                  <a:pt x="397" y="306"/>
                  <a:pt x="370" y="332"/>
                  <a:pt x="337" y="3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400">
              <a:solidFill>
                <a:srgbClr val="FFFFFF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08492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62" grpId="0" animBg="1"/>
      <p:bldP spid="14" grpId="0" animBg="1"/>
      <p:bldP spid="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53" name="Rectangle 2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51331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将从数据供应商处获得的各类数据，以一定的组织形式和格式，输入到系统</a:t>
            </a: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AI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中，通过深度学习方法，进行学习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55" name="Rectangle 31"/>
          <p:cNvSpPr/>
          <p:nvPr>
            <p:custDataLst>
              <p:tags r:id="rId2"/>
            </p:custDataLst>
          </p:nvPr>
        </p:nvSpPr>
        <p:spPr bwMode="auto">
          <a:xfrm>
            <a:off x="513314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5.</a:t>
            </a:r>
            <a:r>
              <a:rPr lang="en-US" altLang="zh-CN" sz="15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1</a:t>
            </a:r>
            <a:r>
              <a:rPr lang="zh-CN" altLang="en-US" sz="15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 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历史数据学习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409303" y="1175040"/>
            <a:ext cx="10759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R5.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 人工智能深度学习需求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8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82802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将</a:t>
            </a: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AI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输出的策略进行模拟交易，根据收益结果进行回归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60" name="Rectangle 31"/>
          <p:cNvSpPr/>
          <p:nvPr>
            <p:custDataLst>
              <p:tags r:id="rId4"/>
            </p:custDataLst>
          </p:nvPr>
        </p:nvSpPr>
        <p:spPr bwMode="auto">
          <a:xfrm>
            <a:off x="2828024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5.2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模拟交易回归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62" name="Rectangle 2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14273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发现</a:t>
            </a: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AI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输出结果策略中，与现实情况不符的错误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64" name="Rectangle 31"/>
          <p:cNvSpPr/>
          <p:nvPr>
            <p:custDataLst>
              <p:tags r:id="rId6"/>
            </p:custDataLst>
          </p:nvPr>
        </p:nvSpPr>
        <p:spPr bwMode="auto">
          <a:xfrm>
            <a:off x="5142734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5.3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策略错误检测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70" name="Rectangle 22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745744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针对发现的错误，进行系统再学习和自我优化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72" name="Rectangle 31"/>
          <p:cNvSpPr/>
          <p:nvPr>
            <p:custDataLst>
              <p:tags r:id="rId8"/>
            </p:custDataLst>
          </p:nvPr>
        </p:nvSpPr>
        <p:spPr bwMode="auto">
          <a:xfrm>
            <a:off x="7457444" y="2012048"/>
            <a:ext cx="1920240" cy="1917497"/>
          </a:xfrm>
          <a:prstGeom prst="rect">
            <a:avLst/>
          </a:prstGeom>
          <a:solidFill>
            <a:srgbClr val="EAAF07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5.4</a:t>
            </a:r>
            <a:r>
              <a:rPr kumimoji="0" lang="zh-CN" altLang="en-US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策略自动优化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75" name="Rectangle 2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9772154" y="4004980"/>
            <a:ext cx="1920240" cy="2446763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1D4C7C">
                  <a:lumMod val="75000"/>
                </a:srgbClr>
              </a:buClr>
              <a:buSzPct val="100000"/>
            </a:pPr>
            <a:r>
              <a:rPr kumimoji="0" lang="en-US" altLang="zh-CN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AI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输出策略，直接运用到现实交易中，通过程序化的方式，直接交易（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目前受证监会的政策限制，暂时无法进行</a:t>
            </a:r>
            <a:r>
              <a:rPr kumimoji="0" lang="zh-CN" altLang="en-US" sz="12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 Light" charset="-122"/>
                <a:ea typeface="Yuanti SC Light" charset="-122"/>
                <a:cs typeface="Yuanti SC Light" charset="-122"/>
              </a:rPr>
              <a:t>）。</a:t>
            </a:r>
            <a:endParaRPr kumimoji="0" lang="en-US" sz="1200" u="none" strike="noStrike" kern="0" cap="none" spc="0" normalizeH="0" baseline="0" noProof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77" name="Rectangle 31"/>
          <p:cNvSpPr/>
          <p:nvPr>
            <p:custDataLst>
              <p:tags r:id="rId10"/>
            </p:custDataLst>
          </p:nvPr>
        </p:nvSpPr>
        <p:spPr bwMode="auto">
          <a:xfrm>
            <a:off x="9772154" y="2012048"/>
            <a:ext cx="1920240" cy="19174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137160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45" eaLnBrk="1" fontAlgn="base" latinLnBrk="0" hangingPunct="1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buFontTx/>
              <a:buNone/>
              <a:tabLst/>
              <a:defRPr/>
            </a:pPr>
            <a:r>
              <a:rPr kumimoji="0" lang="en-US" altLang="zh-CN" sz="1500" u="none" strike="noStrike" kern="0" cap="none" spc="0" normalizeH="0" baseline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R5.5</a:t>
            </a:r>
            <a:r>
              <a:rPr kumimoji="0" lang="zh-CN" altLang="en-US" sz="1500" u="none" strike="noStrike" kern="0" cap="none" spc="0" normalizeH="0" noProof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Yuanti SC" charset="-122"/>
                <a:ea typeface="Yuanti SC" charset="-122"/>
                <a:cs typeface="Yuanti SC" charset="-122"/>
              </a:rPr>
              <a:t> 程序化交易</a:t>
            </a:r>
            <a:endParaRPr kumimoji="0" lang="en-US" sz="1500" u="none" strike="noStrike" kern="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22" name="Freeform 16"/>
          <p:cNvSpPr>
            <a:spLocks/>
          </p:cNvSpPr>
          <p:nvPr/>
        </p:nvSpPr>
        <p:spPr bwMode="black">
          <a:xfrm>
            <a:off x="8095237" y="2486587"/>
            <a:ext cx="644653" cy="613735"/>
          </a:xfrm>
          <a:custGeom>
            <a:avLst/>
            <a:gdLst>
              <a:gd name="T0" fmla="*/ 313 w 315"/>
              <a:gd name="T1" fmla="*/ 135 h 236"/>
              <a:gd name="T2" fmla="*/ 300 w 315"/>
              <a:gd name="T3" fmla="*/ 125 h 236"/>
              <a:gd name="T4" fmla="*/ 294 w 315"/>
              <a:gd name="T5" fmla="*/ 122 h 236"/>
              <a:gd name="T6" fmla="*/ 124 w 315"/>
              <a:gd name="T7" fmla="*/ 58 h 236"/>
              <a:gd name="T8" fmla="*/ 125 w 315"/>
              <a:gd name="T9" fmla="*/ 56 h 236"/>
              <a:gd name="T10" fmla="*/ 100 w 315"/>
              <a:gd name="T11" fmla="*/ 39 h 236"/>
              <a:gd name="T12" fmla="*/ 153 w 315"/>
              <a:gd name="T13" fmla="*/ 11 h 236"/>
              <a:gd name="T14" fmla="*/ 103 w 315"/>
              <a:gd name="T15" fmla="*/ 8 h 236"/>
              <a:gd name="T16" fmla="*/ 61 w 315"/>
              <a:gd name="T17" fmla="*/ 44 h 236"/>
              <a:gd name="T18" fmla="*/ 54 w 315"/>
              <a:gd name="T19" fmla="*/ 85 h 236"/>
              <a:gd name="T20" fmla="*/ 37 w 315"/>
              <a:gd name="T21" fmla="*/ 112 h 236"/>
              <a:gd name="T22" fmla="*/ 56 w 315"/>
              <a:gd name="T23" fmla="*/ 133 h 236"/>
              <a:gd name="T24" fmla="*/ 63 w 315"/>
              <a:gd name="T25" fmla="*/ 135 h 236"/>
              <a:gd name="T26" fmla="*/ 35 w 315"/>
              <a:gd name="T27" fmla="*/ 135 h 236"/>
              <a:gd name="T28" fmla="*/ 31 w 315"/>
              <a:gd name="T29" fmla="*/ 141 h 236"/>
              <a:gd name="T30" fmla="*/ 35 w 315"/>
              <a:gd name="T31" fmla="*/ 147 h 236"/>
              <a:gd name="T32" fmla="*/ 50 w 315"/>
              <a:gd name="T33" fmla="*/ 147 h 236"/>
              <a:gd name="T34" fmla="*/ 50 w 315"/>
              <a:gd name="T35" fmla="*/ 176 h 236"/>
              <a:gd name="T36" fmla="*/ 0 w 315"/>
              <a:gd name="T37" fmla="*/ 176 h 236"/>
              <a:gd name="T38" fmla="*/ 0 w 315"/>
              <a:gd name="T39" fmla="*/ 236 h 236"/>
              <a:gd name="T40" fmla="*/ 227 w 315"/>
              <a:gd name="T41" fmla="*/ 236 h 236"/>
              <a:gd name="T42" fmla="*/ 227 w 315"/>
              <a:gd name="T43" fmla="*/ 176 h 236"/>
              <a:gd name="T44" fmla="*/ 61 w 315"/>
              <a:gd name="T45" fmla="*/ 176 h 236"/>
              <a:gd name="T46" fmla="*/ 61 w 315"/>
              <a:gd name="T47" fmla="*/ 147 h 236"/>
              <a:gd name="T48" fmla="*/ 75 w 315"/>
              <a:gd name="T49" fmla="*/ 147 h 236"/>
              <a:gd name="T50" fmla="*/ 79 w 315"/>
              <a:gd name="T51" fmla="*/ 141 h 236"/>
              <a:gd name="T52" fmla="*/ 75 w 315"/>
              <a:gd name="T53" fmla="*/ 135 h 236"/>
              <a:gd name="T54" fmla="*/ 70 w 315"/>
              <a:gd name="T55" fmla="*/ 135 h 236"/>
              <a:gd name="T56" fmla="*/ 77 w 315"/>
              <a:gd name="T57" fmla="*/ 127 h 236"/>
              <a:gd name="T58" fmla="*/ 84 w 315"/>
              <a:gd name="T59" fmla="*/ 93 h 236"/>
              <a:gd name="T60" fmla="*/ 112 w 315"/>
              <a:gd name="T61" fmla="*/ 93 h 236"/>
              <a:gd name="T62" fmla="*/ 113 w 315"/>
              <a:gd name="T63" fmla="*/ 90 h 236"/>
              <a:gd name="T64" fmla="*/ 282 w 315"/>
              <a:gd name="T65" fmla="*/ 154 h 236"/>
              <a:gd name="T66" fmla="*/ 289 w 315"/>
              <a:gd name="T67" fmla="*/ 156 h 236"/>
              <a:gd name="T68" fmla="*/ 305 w 315"/>
              <a:gd name="T69" fmla="*/ 156 h 236"/>
              <a:gd name="T70" fmla="*/ 314 w 315"/>
              <a:gd name="T71" fmla="*/ 145 h 236"/>
              <a:gd name="T72" fmla="*/ 313 w 315"/>
              <a:gd name="T73" fmla="*/ 135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15" h="236">
                <a:moveTo>
                  <a:pt x="313" y="135"/>
                </a:moveTo>
                <a:cubicBezTo>
                  <a:pt x="311" y="131"/>
                  <a:pt x="306" y="127"/>
                  <a:pt x="300" y="125"/>
                </a:cubicBezTo>
                <a:cubicBezTo>
                  <a:pt x="298" y="124"/>
                  <a:pt x="296" y="123"/>
                  <a:pt x="294" y="122"/>
                </a:cubicBezTo>
                <a:cubicBezTo>
                  <a:pt x="237" y="101"/>
                  <a:pt x="181" y="80"/>
                  <a:pt x="124" y="58"/>
                </a:cubicBezTo>
                <a:cubicBezTo>
                  <a:pt x="125" y="56"/>
                  <a:pt x="125" y="56"/>
                  <a:pt x="125" y="56"/>
                </a:cubicBezTo>
                <a:cubicBezTo>
                  <a:pt x="132" y="52"/>
                  <a:pt x="104" y="51"/>
                  <a:pt x="100" y="39"/>
                </a:cubicBezTo>
                <a:cubicBezTo>
                  <a:pt x="96" y="26"/>
                  <a:pt x="146" y="14"/>
                  <a:pt x="153" y="11"/>
                </a:cubicBezTo>
                <a:cubicBezTo>
                  <a:pt x="161" y="7"/>
                  <a:pt x="125" y="0"/>
                  <a:pt x="103" y="8"/>
                </a:cubicBezTo>
                <a:cubicBezTo>
                  <a:pt x="81" y="16"/>
                  <a:pt x="69" y="29"/>
                  <a:pt x="61" y="44"/>
                </a:cubicBezTo>
                <a:cubicBezTo>
                  <a:pt x="53" y="58"/>
                  <a:pt x="55" y="77"/>
                  <a:pt x="54" y="85"/>
                </a:cubicBezTo>
                <a:cubicBezTo>
                  <a:pt x="54" y="92"/>
                  <a:pt x="40" y="104"/>
                  <a:pt x="37" y="112"/>
                </a:cubicBezTo>
                <a:cubicBezTo>
                  <a:pt x="32" y="125"/>
                  <a:pt x="46" y="129"/>
                  <a:pt x="56" y="133"/>
                </a:cubicBezTo>
                <a:cubicBezTo>
                  <a:pt x="59" y="134"/>
                  <a:pt x="61" y="135"/>
                  <a:pt x="63" y="135"/>
                </a:cubicBezTo>
                <a:cubicBezTo>
                  <a:pt x="35" y="135"/>
                  <a:pt x="35" y="135"/>
                  <a:pt x="35" y="135"/>
                </a:cubicBezTo>
                <a:cubicBezTo>
                  <a:pt x="33" y="135"/>
                  <a:pt x="31" y="138"/>
                  <a:pt x="31" y="141"/>
                </a:cubicBezTo>
                <a:cubicBezTo>
                  <a:pt x="31" y="144"/>
                  <a:pt x="33" y="147"/>
                  <a:pt x="35" y="147"/>
                </a:cubicBezTo>
                <a:cubicBezTo>
                  <a:pt x="50" y="147"/>
                  <a:pt x="50" y="147"/>
                  <a:pt x="50" y="147"/>
                </a:cubicBezTo>
                <a:cubicBezTo>
                  <a:pt x="50" y="176"/>
                  <a:pt x="50" y="176"/>
                  <a:pt x="50" y="17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236"/>
                  <a:pt x="0" y="236"/>
                  <a:pt x="0" y="236"/>
                </a:cubicBezTo>
                <a:cubicBezTo>
                  <a:pt x="227" y="236"/>
                  <a:pt x="227" y="236"/>
                  <a:pt x="227" y="236"/>
                </a:cubicBezTo>
                <a:cubicBezTo>
                  <a:pt x="227" y="176"/>
                  <a:pt x="227" y="176"/>
                  <a:pt x="227" y="176"/>
                </a:cubicBezTo>
                <a:cubicBezTo>
                  <a:pt x="61" y="176"/>
                  <a:pt x="61" y="176"/>
                  <a:pt x="61" y="176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75" y="147"/>
                  <a:pt x="75" y="147"/>
                  <a:pt x="75" y="147"/>
                </a:cubicBezTo>
                <a:cubicBezTo>
                  <a:pt x="77" y="147"/>
                  <a:pt x="79" y="144"/>
                  <a:pt x="79" y="141"/>
                </a:cubicBezTo>
                <a:cubicBezTo>
                  <a:pt x="79" y="138"/>
                  <a:pt x="77" y="135"/>
                  <a:pt x="75" y="135"/>
                </a:cubicBezTo>
                <a:cubicBezTo>
                  <a:pt x="70" y="135"/>
                  <a:pt x="70" y="135"/>
                  <a:pt x="70" y="135"/>
                </a:cubicBezTo>
                <a:cubicBezTo>
                  <a:pt x="73" y="134"/>
                  <a:pt x="75" y="132"/>
                  <a:pt x="77" y="127"/>
                </a:cubicBezTo>
                <a:cubicBezTo>
                  <a:pt x="82" y="118"/>
                  <a:pt x="76" y="104"/>
                  <a:pt x="84" y="93"/>
                </a:cubicBezTo>
                <a:cubicBezTo>
                  <a:pt x="91" y="83"/>
                  <a:pt x="112" y="93"/>
                  <a:pt x="112" y="93"/>
                </a:cubicBezTo>
                <a:cubicBezTo>
                  <a:pt x="113" y="90"/>
                  <a:pt x="113" y="90"/>
                  <a:pt x="113" y="90"/>
                </a:cubicBezTo>
                <a:cubicBezTo>
                  <a:pt x="170" y="111"/>
                  <a:pt x="226" y="132"/>
                  <a:pt x="282" y="154"/>
                </a:cubicBezTo>
                <a:cubicBezTo>
                  <a:pt x="284" y="154"/>
                  <a:pt x="287" y="155"/>
                  <a:pt x="289" y="156"/>
                </a:cubicBezTo>
                <a:cubicBezTo>
                  <a:pt x="294" y="158"/>
                  <a:pt x="300" y="158"/>
                  <a:pt x="305" y="156"/>
                </a:cubicBezTo>
                <a:cubicBezTo>
                  <a:pt x="310" y="154"/>
                  <a:pt x="314" y="150"/>
                  <a:pt x="314" y="145"/>
                </a:cubicBezTo>
                <a:cubicBezTo>
                  <a:pt x="315" y="142"/>
                  <a:pt x="314" y="138"/>
                  <a:pt x="313" y="1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27" name="Picture 3" descr="C:\Users\Jonahs\Dropbox\Projects SCOTT\MEET Windows Azure\source\Background\tile-icon-bigdata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0892" y="2458215"/>
            <a:ext cx="674357" cy="67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72" descr="\\MAGNUM\Projects\Microsoft\Cloud Power FY12\Design\ICONS_PNG\Application.png"/>
          <p:cNvPicPr>
            <a:picLocks noChangeAspect="1" noChangeArrowheads="1"/>
          </p:cNvPicPr>
          <p:nvPr/>
        </p:nvPicPr>
        <p:blipFill>
          <a:blip r:embed="rId15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0249383" y="2312541"/>
            <a:ext cx="965781" cy="965530"/>
          </a:xfrm>
          <a:prstGeom prst="rect">
            <a:avLst/>
          </a:prstGeom>
          <a:noFill/>
          <a:effectLst/>
        </p:spPr>
      </p:pic>
      <p:sp>
        <p:nvSpPr>
          <p:cNvPr id="31" name="Freeform 83"/>
          <p:cNvSpPr>
            <a:spLocks noEditPoints="1"/>
          </p:cNvSpPr>
          <p:nvPr/>
        </p:nvSpPr>
        <p:spPr bwMode="black">
          <a:xfrm>
            <a:off x="3429869" y="2442363"/>
            <a:ext cx="713867" cy="690034"/>
          </a:xfrm>
          <a:custGeom>
            <a:avLst/>
            <a:gdLst>
              <a:gd name="T0" fmla="*/ 502 w 2107"/>
              <a:gd name="T1" fmla="*/ 1162 h 2221"/>
              <a:gd name="T2" fmla="*/ 239 w 2107"/>
              <a:gd name="T3" fmla="*/ 2072 h 2221"/>
              <a:gd name="T4" fmla="*/ 1587 w 2107"/>
              <a:gd name="T5" fmla="*/ 1800 h 2221"/>
              <a:gd name="T6" fmla="*/ 1487 w 2107"/>
              <a:gd name="T7" fmla="*/ 1835 h 2221"/>
              <a:gd name="T8" fmla="*/ 1579 w 2107"/>
              <a:gd name="T9" fmla="*/ 1870 h 2221"/>
              <a:gd name="T10" fmla="*/ 1470 w 2107"/>
              <a:gd name="T11" fmla="*/ 1847 h 2221"/>
              <a:gd name="T12" fmla="*/ 983 w 2107"/>
              <a:gd name="T13" fmla="*/ 1837 h 2221"/>
              <a:gd name="T14" fmla="*/ 1062 w 2107"/>
              <a:gd name="T15" fmla="*/ 1872 h 2221"/>
              <a:gd name="T16" fmla="*/ 956 w 2107"/>
              <a:gd name="T17" fmla="*/ 1951 h 2221"/>
              <a:gd name="T18" fmla="*/ 1046 w 2107"/>
              <a:gd name="T19" fmla="*/ 1970 h 2221"/>
              <a:gd name="T20" fmla="*/ 820 w 2107"/>
              <a:gd name="T21" fmla="*/ 1872 h 2221"/>
              <a:gd name="T22" fmla="*/ 899 w 2107"/>
              <a:gd name="T23" fmla="*/ 1836 h 2221"/>
              <a:gd name="T24" fmla="*/ 841 w 2107"/>
              <a:gd name="T25" fmla="*/ 1886 h 2221"/>
              <a:gd name="T26" fmla="*/ 905 w 2107"/>
              <a:gd name="T27" fmla="*/ 1920 h 2221"/>
              <a:gd name="T28" fmla="*/ 882 w 2107"/>
              <a:gd name="T29" fmla="*/ 1971 h 2221"/>
              <a:gd name="T30" fmla="*/ 687 w 2107"/>
              <a:gd name="T31" fmla="*/ 1847 h 2221"/>
              <a:gd name="T32" fmla="*/ 780 w 2107"/>
              <a:gd name="T33" fmla="*/ 1844 h 2221"/>
              <a:gd name="T34" fmla="*/ 760 w 2107"/>
              <a:gd name="T35" fmla="*/ 1882 h 2221"/>
              <a:gd name="T36" fmla="*/ 703 w 2107"/>
              <a:gd name="T37" fmla="*/ 1912 h 2221"/>
              <a:gd name="T38" fmla="*/ 682 w 2107"/>
              <a:gd name="T39" fmla="*/ 1972 h 2221"/>
              <a:gd name="T40" fmla="*/ 647 w 2107"/>
              <a:gd name="T41" fmla="*/ 1928 h 2221"/>
              <a:gd name="T42" fmla="*/ 631 w 2107"/>
              <a:gd name="T43" fmla="*/ 1862 h 2221"/>
              <a:gd name="T44" fmla="*/ 545 w 2107"/>
              <a:gd name="T45" fmla="*/ 2017 h 2221"/>
              <a:gd name="T46" fmla="*/ 416 w 2107"/>
              <a:gd name="T47" fmla="*/ 2078 h 2221"/>
              <a:gd name="T48" fmla="*/ 435 w 2107"/>
              <a:gd name="T49" fmla="*/ 2014 h 2221"/>
              <a:gd name="T50" fmla="*/ 538 w 2107"/>
              <a:gd name="T51" fmla="*/ 2006 h 2221"/>
              <a:gd name="T52" fmla="*/ 520 w 2107"/>
              <a:gd name="T53" fmla="*/ 1973 h 2221"/>
              <a:gd name="T54" fmla="*/ 490 w 2107"/>
              <a:gd name="T55" fmla="*/ 1930 h 2221"/>
              <a:gd name="T56" fmla="*/ 587 w 2107"/>
              <a:gd name="T57" fmla="*/ 1913 h 2221"/>
              <a:gd name="T58" fmla="*/ 1055 w 2107"/>
              <a:gd name="T59" fmla="*/ 2071 h 2221"/>
              <a:gd name="T60" fmla="*/ 605 w 2107"/>
              <a:gd name="T61" fmla="*/ 2078 h 2221"/>
              <a:gd name="T62" fmla="*/ 613 w 2107"/>
              <a:gd name="T63" fmla="*/ 2010 h 2221"/>
              <a:gd name="T64" fmla="*/ 1046 w 2107"/>
              <a:gd name="T65" fmla="*/ 2003 h 2221"/>
              <a:gd name="T66" fmla="*/ 1113 w 2107"/>
              <a:gd name="T67" fmla="*/ 1877 h 2221"/>
              <a:gd name="T68" fmla="*/ 1176 w 2107"/>
              <a:gd name="T69" fmla="*/ 1835 h 2221"/>
              <a:gd name="T70" fmla="*/ 1137 w 2107"/>
              <a:gd name="T71" fmla="*/ 1885 h 2221"/>
              <a:gd name="T72" fmla="*/ 1115 w 2107"/>
              <a:gd name="T73" fmla="*/ 1926 h 2221"/>
              <a:gd name="T74" fmla="*/ 1215 w 2107"/>
              <a:gd name="T75" fmla="*/ 1968 h 2221"/>
              <a:gd name="T76" fmla="*/ 1135 w 2107"/>
              <a:gd name="T77" fmla="*/ 1970 h 2221"/>
              <a:gd name="T78" fmla="*/ 1146 w 2107"/>
              <a:gd name="T79" fmla="*/ 2075 h 2221"/>
              <a:gd name="T80" fmla="*/ 1122 w 2107"/>
              <a:gd name="T81" fmla="*/ 2019 h 2221"/>
              <a:gd name="T82" fmla="*/ 1139 w 2107"/>
              <a:gd name="T83" fmla="*/ 2003 h 2221"/>
              <a:gd name="T84" fmla="*/ 1217 w 2107"/>
              <a:gd name="T85" fmla="*/ 2003 h 2221"/>
              <a:gd name="T86" fmla="*/ 1337 w 2107"/>
              <a:gd name="T87" fmla="*/ 1868 h 2221"/>
              <a:gd name="T88" fmla="*/ 1411 w 2107"/>
              <a:gd name="T89" fmla="*/ 1838 h 2221"/>
              <a:gd name="T90" fmla="*/ 1425 w 2107"/>
              <a:gd name="T91" fmla="*/ 1883 h 2221"/>
              <a:gd name="T92" fmla="*/ 1359 w 2107"/>
              <a:gd name="T93" fmla="*/ 1927 h 2221"/>
              <a:gd name="T94" fmla="*/ 1476 w 2107"/>
              <a:gd name="T95" fmla="*/ 1956 h 2221"/>
              <a:gd name="T96" fmla="*/ 1461 w 2107"/>
              <a:gd name="T97" fmla="*/ 1970 h 2221"/>
              <a:gd name="T98" fmla="*/ 1511 w 2107"/>
              <a:gd name="T99" fmla="*/ 2075 h 2221"/>
              <a:gd name="T100" fmla="*/ 1393 w 2107"/>
              <a:gd name="T101" fmla="*/ 2019 h 2221"/>
              <a:gd name="T102" fmla="*/ 1475 w 2107"/>
              <a:gd name="T103" fmla="*/ 2001 h 2221"/>
              <a:gd name="T104" fmla="*/ 1681 w 2107"/>
              <a:gd name="T105" fmla="*/ 2018 h 2221"/>
              <a:gd name="T106" fmla="*/ 1623 w 2107"/>
              <a:gd name="T107" fmla="*/ 2075 h 2221"/>
              <a:gd name="T108" fmla="*/ 1639 w 2107"/>
              <a:gd name="T109" fmla="*/ 2000 h 2221"/>
              <a:gd name="T110" fmla="*/ 1630 w 2107"/>
              <a:gd name="T111" fmla="*/ 1969 h 2221"/>
              <a:gd name="T112" fmla="*/ 1532 w 2107"/>
              <a:gd name="T113" fmla="*/ 1910 h 2221"/>
              <a:gd name="T114" fmla="*/ 933 w 2107"/>
              <a:gd name="T115" fmla="*/ 1308 h 2221"/>
              <a:gd name="T116" fmla="*/ 9 w 2107"/>
              <a:gd name="T117" fmla="*/ 909 h 2221"/>
              <a:gd name="T118" fmla="*/ 413 w 2107"/>
              <a:gd name="T119" fmla="*/ 386 h 2221"/>
              <a:gd name="T120" fmla="*/ 1700 w 2107"/>
              <a:gd name="T121" fmla="*/ 556 h 2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07" h="2221">
                <a:moveTo>
                  <a:pt x="2107" y="809"/>
                </a:moveTo>
                <a:cubicBezTo>
                  <a:pt x="2106" y="786"/>
                  <a:pt x="2103" y="764"/>
                  <a:pt x="2098" y="742"/>
                </a:cubicBezTo>
                <a:cubicBezTo>
                  <a:pt x="2098" y="745"/>
                  <a:pt x="2098" y="747"/>
                  <a:pt x="2098" y="749"/>
                </a:cubicBezTo>
                <a:cubicBezTo>
                  <a:pt x="2096" y="810"/>
                  <a:pt x="2076" y="869"/>
                  <a:pt x="2040" y="926"/>
                </a:cubicBezTo>
                <a:cubicBezTo>
                  <a:pt x="2018" y="961"/>
                  <a:pt x="1988" y="995"/>
                  <a:pt x="1953" y="1027"/>
                </a:cubicBezTo>
                <a:cubicBezTo>
                  <a:pt x="1918" y="1064"/>
                  <a:pt x="1873" y="1098"/>
                  <a:pt x="1819" y="1131"/>
                </a:cubicBezTo>
                <a:cubicBezTo>
                  <a:pt x="1777" y="1156"/>
                  <a:pt x="1731" y="1178"/>
                  <a:pt x="1682" y="1198"/>
                </a:cubicBezTo>
                <a:cubicBezTo>
                  <a:pt x="1682" y="1061"/>
                  <a:pt x="1682" y="1061"/>
                  <a:pt x="1682" y="1061"/>
                </a:cubicBezTo>
                <a:cubicBezTo>
                  <a:pt x="1682" y="1059"/>
                  <a:pt x="1682" y="1058"/>
                  <a:pt x="1682" y="1056"/>
                </a:cubicBezTo>
                <a:cubicBezTo>
                  <a:pt x="1680" y="988"/>
                  <a:pt x="1624" y="933"/>
                  <a:pt x="1554" y="933"/>
                </a:cubicBezTo>
                <a:cubicBezTo>
                  <a:pt x="555" y="933"/>
                  <a:pt x="555" y="933"/>
                  <a:pt x="555" y="933"/>
                </a:cubicBezTo>
                <a:cubicBezTo>
                  <a:pt x="484" y="933"/>
                  <a:pt x="426" y="990"/>
                  <a:pt x="426" y="1061"/>
                </a:cubicBezTo>
                <a:cubicBezTo>
                  <a:pt x="426" y="1141"/>
                  <a:pt x="426" y="1141"/>
                  <a:pt x="426" y="1141"/>
                </a:cubicBezTo>
                <a:cubicBezTo>
                  <a:pt x="430" y="1142"/>
                  <a:pt x="430" y="1142"/>
                  <a:pt x="430" y="1142"/>
                </a:cubicBezTo>
                <a:cubicBezTo>
                  <a:pt x="430" y="1143"/>
                  <a:pt x="459" y="1152"/>
                  <a:pt x="502" y="1162"/>
                </a:cubicBezTo>
                <a:cubicBezTo>
                  <a:pt x="502" y="1069"/>
                  <a:pt x="502" y="1069"/>
                  <a:pt x="502" y="1069"/>
                </a:cubicBezTo>
                <a:cubicBezTo>
                  <a:pt x="502" y="1032"/>
                  <a:pt x="531" y="1003"/>
                  <a:pt x="568" y="1003"/>
                </a:cubicBezTo>
                <a:cubicBezTo>
                  <a:pt x="1541" y="1003"/>
                  <a:pt x="1541" y="1003"/>
                  <a:pt x="1541" y="1003"/>
                </a:cubicBezTo>
                <a:cubicBezTo>
                  <a:pt x="1577" y="1003"/>
                  <a:pt x="1607" y="1032"/>
                  <a:pt x="1607" y="1069"/>
                </a:cubicBezTo>
                <a:cubicBezTo>
                  <a:pt x="1607" y="1668"/>
                  <a:pt x="1607" y="1668"/>
                  <a:pt x="1607" y="1668"/>
                </a:cubicBezTo>
                <a:cubicBezTo>
                  <a:pt x="1607" y="1704"/>
                  <a:pt x="1577" y="1734"/>
                  <a:pt x="1541" y="1734"/>
                </a:cubicBezTo>
                <a:cubicBezTo>
                  <a:pt x="568" y="1734"/>
                  <a:pt x="568" y="1734"/>
                  <a:pt x="568" y="1734"/>
                </a:cubicBezTo>
                <a:cubicBezTo>
                  <a:pt x="531" y="1734"/>
                  <a:pt x="502" y="1704"/>
                  <a:pt x="502" y="1668"/>
                </a:cubicBezTo>
                <a:cubicBezTo>
                  <a:pt x="502" y="1541"/>
                  <a:pt x="502" y="1541"/>
                  <a:pt x="502" y="1541"/>
                </a:cubicBezTo>
                <a:cubicBezTo>
                  <a:pt x="476" y="1535"/>
                  <a:pt x="451" y="1528"/>
                  <a:pt x="426" y="1520"/>
                </a:cubicBezTo>
                <a:cubicBezTo>
                  <a:pt x="426" y="1676"/>
                  <a:pt x="426" y="1676"/>
                  <a:pt x="426" y="1676"/>
                </a:cubicBezTo>
                <a:cubicBezTo>
                  <a:pt x="426" y="1736"/>
                  <a:pt x="467" y="1786"/>
                  <a:pt x="523" y="1800"/>
                </a:cubicBezTo>
                <a:cubicBezTo>
                  <a:pt x="491" y="1802"/>
                  <a:pt x="456" y="1813"/>
                  <a:pt x="435" y="1837"/>
                </a:cubicBezTo>
                <a:cubicBezTo>
                  <a:pt x="419" y="1857"/>
                  <a:pt x="403" y="1876"/>
                  <a:pt x="387" y="1895"/>
                </a:cubicBezTo>
                <a:cubicBezTo>
                  <a:pt x="337" y="1954"/>
                  <a:pt x="288" y="2013"/>
                  <a:pt x="239" y="2072"/>
                </a:cubicBezTo>
                <a:cubicBezTo>
                  <a:pt x="227" y="2086"/>
                  <a:pt x="203" y="2107"/>
                  <a:pt x="203" y="2127"/>
                </a:cubicBezTo>
                <a:cubicBezTo>
                  <a:pt x="203" y="2183"/>
                  <a:pt x="203" y="2183"/>
                  <a:pt x="203" y="2183"/>
                </a:cubicBezTo>
                <a:cubicBezTo>
                  <a:pt x="204" y="2190"/>
                  <a:pt x="206" y="2197"/>
                  <a:pt x="209" y="2202"/>
                </a:cubicBezTo>
                <a:cubicBezTo>
                  <a:pt x="222" y="2220"/>
                  <a:pt x="247" y="2221"/>
                  <a:pt x="267" y="2221"/>
                </a:cubicBezTo>
                <a:cubicBezTo>
                  <a:pt x="295" y="2221"/>
                  <a:pt x="1759" y="2221"/>
                  <a:pt x="1804" y="2221"/>
                </a:cubicBezTo>
                <a:cubicBezTo>
                  <a:pt x="1826" y="2221"/>
                  <a:pt x="1850" y="2219"/>
                  <a:pt x="1871" y="2214"/>
                </a:cubicBezTo>
                <a:cubicBezTo>
                  <a:pt x="1886" y="2211"/>
                  <a:pt x="1903" y="2203"/>
                  <a:pt x="1905" y="2186"/>
                </a:cubicBezTo>
                <a:cubicBezTo>
                  <a:pt x="1905" y="2126"/>
                  <a:pt x="1905" y="2126"/>
                  <a:pt x="1905" y="2126"/>
                </a:cubicBezTo>
                <a:cubicBezTo>
                  <a:pt x="1907" y="2113"/>
                  <a:pt x="1899" y="2100"/>
                  <a:pt x="1891" y="2091"/>
                </a:cubicBezTo>
                <a:cubicBezTo>
                  <a:pt x="1887" y="2086"/>
                  <a:pt x="1883" y="2081"/>
                  <a:pt x="1879" y="2077"/>
                </a:cubicBezTo>
                <a:cubicBezTo>
                  <a:pt x="1858" y="2052"/>
                  <a:pt x="1837" y="2027"/>
                  <a:pt x="1816" y="2003"/>
                </a:cubicBezTo>
                <a:cubicBezTo>
                  <a:pt x="1770" y="1948"/>
                  <a:pt x="1724" y="1894"/>
                  <a:pt x="1678" y="1840"/>
                </a:cubicBezTo>
                <a:cubicBezTo>
                  <a:pt x="1676" y="1837"/>
                  <a:pt x="1674" y="1834"/>
                  <a:pt x="1671" y="1832"/>
                </a:cubicBezTo>
                <a:cubicBezTo>
                  <a:pt x="1662" y="1820"/>
                  <a:pt x="1647" y="1813"/>
                  <a:pt x="1633" y="1809"/>
                </a:cubicBezTo>
                <a:cubicBezTo>
                  <a:pt x="1618" y="1804"/>
                  <a:pt x="1603" y="1801"/>
                  <a:pt x="1587" y="1800"/>
                </a:cubicBezTo>
                <a:cubicBezTo>
                  <a:pt x="1642" y="1785"/>
                  <a:pt x="1682" y="1735"/>
                  <a:pt x="1682" y="1676"/>
                </a:cubicBezTo>
                <a:cubicBezTo>
                  <a:pt x="1682" y="1462"/>
                  <a:pt x="1682" y="1462"/>
                  <a:pt x="1682" y="1462"/>
                </a:cubicBezTo>
                <a:cubicBezTo>
                  <a:pt x="1698" y="1455"/>
                  <a:pt x="1714" y="1448"/>
                  <a:pt x="1730" y="1441"/>
                </a:cubicBezTo>
                <a:cubicBezTo>
                  <a:pt x="1801" y="1408"/>
                  <a:pt x="1863" y="1368"/>
                  <a:pt x="1916" y="1325"/>
                </a:cubicBezTo>
                <a:cubicBezTo>
                  <a:pt x="1946" y="1300"/>
                  <a:pt x="1972" y="1273"/>
                  <a:pt x="1995" y="1246"/>
                </a:cubicBezTo>
                <a:cubicBezTo>
                  <a:pt x="2018" y="1218"/>
                  <a:pt x="2037" y="1187"/>
                  <a:pt x="2054" y="1154"/>
                </a:cubicBezTo>
                <a:cubicBezTo>
                  <a:pt x="2068" y="1124"/>
                  <a:pt x="2079" y="1090"/>
                  <a:pt x="2084" y="1054"/>
                </a:cubicBezTo>
                <a:cubicBezTo>
                  <a:pt x="2086" y="1040"/>
                  <a:pt x="2087" y="1026"/>
                  <a:pt x="2089" y="1013"/>
                </a:cubicBezTo>
                <a:cubicBezTo>
                  <a:pt x="2089" y="1008"/>
                  <a:pt x="2090" y="1003"/>
                  <a:pt x="2090" y="998"/>
                </a:cubicBezTo>
                <a:cubicBezTo>
                  <a:pt x="2102" y="877"/>
                  <a:pt x="2102" y="877"/>
                  <a:pt x="2102" y="877"/>
                </a:cubicBezTo>
                <a:cubicBezTo>
                  <a:pt x="2103" y="874"/>
                  <a:pt x="2103" y="870"/>
                  <a:pt x="2103" y="867"/>
                </a:cubicBezTo>
                <a:cubicBezTo>
                  <a:pt x="2105" y="848"/>
                  <a:pt x="2107" y="829"/>
                  <a:pt x="2107" y="809"/>
                </a:cubicBezTo>
                <a:close/>
                <a:moveTo>
                  <a:pt x="1474" y="1837"/>
                </a:moveTo>
                <a:cubicBezTo>
                  <a:pt x="1475" y="1836"/>
                  <a:pt x="1476" y="1836"/>
                  <a:pt x="1478" y="1836"/>
                </a:cubicBezTo>
                <a:cubicBezTo>
                  <a:pt x="1481" y="1835"/>
                  <a:pt x="1483" y="1835"/>
                  <a:pt x="1487" y="1835"/>
                </a:cubicBezTo>
                <a:cubicBezTo>
                  <a:pt x="1492" y="1835"/>
                  <a:pt x="1492" y="1835"/>
                  <a:pt x="1492" y="1835"/>
                </a:cubicBezTo>
                <a:cubicBezTo>
                  <a:pt x="1492" y="1835"/>
                  <a:pt x="1492" y="1835"/>
                  <a:pt x="1492" y="1835"/>
                </a:cubicBezTo>
                <a:cubicBezTo>
                  <a:pt x="1502" y="1835"/>
                  <a:pt x="1511" y="1835"/>
                  <a:pt x="1521" y="1835"/>
                </a:cubicBezTo>
                <a:cubicBezTo>
                  <a:pt x="1521" y="1835"/>
                  <a:pt x="1521" y="1835"/>
                  <a:pt x="1521" y="1835"/>
                </a:cubicBezTo>
                <a:cubicBezTo>
                  <a:pt x="1531" y="1835"/>
                  <a:pt x="1531" y="1835"/>
                  <a:pt x="1531" y="1835"/>
                </a:cubicBezTo>
                <a:cubicBezTo>
                  <a:pt x="1534" y="1834"/>
                  <a:pt x="1538" y="1835"/>
                  <a:pt x="1541" y="1835"/>
                </a:cubicBezTo>
                <a:cubicBezTo>
                  <a:pt x="1543" y="1836"/>
                  <a:pt x="1546" y="1836"/>
                  <a:pt x="1548" y="1837"/>
                </a:cubicBezTo>
                <a:cubicBezTo>
                  <a:pt x="1548" y="1837"/>
                  <a:pt x="1548" y="1837"/>
                  <a:pt x="1548" y="1837"/>
                </a:cubicBezTo>
                <a:cubicBezTo>
                  <a:pt x="1549" y="1837"/>
                  <a:pt x="1549" y="1838"/>
                  <a:pt x="1549" y="1838"/>
                </a:cubicBezTo>
                <a:cubicBezTo>
                  <a:pt x="1550" y="1838"/>
                  <a:pt x="1550" y="1838"/>
                  <a:pt x="1550" y="1838"/>
                </a:cubicBezTo>
                <a:cubicBezTo>
                  <a:pt x="1553" y="1839"/>
                  <a:pt x="1556" y="1840"/>
                  <a:pt x="1558" y="1842"/>
                </a:cubicBezTo>
                <a:cubicBezTo>
                  <a:pt x="1560" y="1843"/>
                  <a:pt x="1562" y="1845"/>
                  <a:pt x="1563" y="1847"/>
                </a:cubicBezTo>
                <a:cubicBezTo>
                  <a:pt x="1571" y="1858"/>
                  <a:pt x="1571" y="1858"/>
                  <a:pt x="1571" y="1858"/>
                </a:cubicBezTo>
                <a:cubicBezTo>
                  <a:pt x="1573" y="1861"/>
                  <a:pt x="1577" y="1865"/>
                  <a:pt x="1579" y="1870"/>
                </a:cubicBezTo>
                <a:cubicBezTo>
                  <a:pt x="1579" y="1870"/>
                  <a:pt x="1579" y="1870"/>
                  <a:pt x="1579" y="1870"/>
                </a:cubicBezTo>
                <a:cubicBezTo>
                  <a:pt x="1581" y="1872"/>
                  <a:pt x="1581" y="1874"/>
                  <a:pt x="1581" y="1876"/>
                </a:cubicBezTo>
                <a:cubicBezTo>
                  <a:pt x="1581" y="1877"/>
                  <a:pt x="1580" y="1878"/>
                  <a:pt x="1579" y="1879"/>
                </a:cubicBezTo>
                <a:cubicBezTo>
                  <a:pt x="1579" y="1879"/>
                  <a:pt x="1579" y="1880"/>
                  <a:pt x="1579" y="1880"/>
                </a:cubicBezTo>
                <a:cubicBezTo>
                  <a:pt x="1579" y="1880"/>
                  <a:pt x="1579" y="1880"/>
                  <a:pt x="1579" y="1880"/>
                </a:cubicBezTo>
                <a:cubicBezTo>
                  <a:pt x="1578" y="1880"/>
                  <a:pt x="1578" y="1880"/>
                  <a:pt x="1578" y="1880"/>
                </a:cubicBezTo>
                <a:cubicBezTo>
                  <a:pt x="1578" y="1880"/>
                  <a:pt x="1578" y="1881"/>
                  <a:pt x="1577" y="1881"/>
                </a:cubicBezTo>
                <a:cubicBezTo>
                  <a:pt x="1577" y="1881"/>
                  <a:pt x="1577" y="1881"/>
                  <a:pt x="1576" y="1881"/>
                </a:cubicBezTo>
                <a:cubicBezTo>
                  <a:pt x="1576" y="1881"/>
                  <a:pt x="1576" y="1882"/>
                  <a:pt x="1575" y="1882"/>
                </a:cubicBezTo>
                <a:cubicBezTo>
                  <a:pt x="1569" y="1885"/>
                  <a:pt x="1560" y="1884"/>
                  <a:pt x="1553" y="1884"/>
                </a:cubicBezTo>
                <a:cubicBezTo>
                  <a:pt x="1516" y="1884"/>
                  <a:pt x="1516" y="1884"/>
                  <a:pt x="1516" y="1884"/>
                </a:cubicBezTo>
                <a:cubicBezTo>
                  <a:pt x="1509" y="1884"/>
                  <a:pt x="1501" y="1883"/>
                  <a:pt x="1494" y="1879"/>
                </a:cubicBezTo>
                <a:cubicBezTo>
                  <a:pt x="1492" y="1878"/>
                  <a:pt x="1490" y="1877"/>
                  <a:pt x="1488" y="1876"/>
                </a:cubicBezTo>
                <a:cubicBezTo>
                  <a:pt x="1486" y="1874"/>
                  <a:pt x="1484" y="1872"/>
                  <a:pt x="1483" y="1871"/>
                </a:cubicBezTo>
                <a:cubicBezTo>
                  <a:pt x="1481" y="1868"/>
                  <a:pt x="1481" y="1868"/>
                  <a:pt x="1481" y="1868"/>
                </a:cubicBezTo>
                <a:cubicBezTo>
                  <a:pt x="1478" y="1861"/>
                  <a:pt x="1473" y="1854"/>
                  <a:pt x="1470" y="1847"/>
                </a:cubicBezTo>
                <a:cubicBezTo>
                  <a:pt x="1467" y="1842"/>
                  <a:pt x="1469" y="1839"/>
                  <a:pt x="1474" y="1837"/>
                </a:cubicBezTo>
                <a:close/>
                <a:moveTo>
                  <a:pt x="965" y="1871"/>
                </a:moveTo>
                <a:cubicBezTo>
                  <a:pt x="966" y="1869"/>
                  <a:pt x="966" y="1868"/>
                  <a:pt x="966" y="1866"/>
                </a:cubicBezTo>
                <a:cubicBezTo>
                  <a:pt x="966" y="1866"/>
                  <a:pt x="966" y="1866"/>
                  <a:pt x="966" y="1866"/>
                </a:cubicBezTo>
                <a:cubicBezTo>
                  <a:pt x="967" y="1861"/>
                  <a:pt x="966" y="1855"/>
                  <a:pt x="968" y="1850"/>
                </a:cubicBezTo>
                <a:cubicBezTo>
                  <a:pt x="968" y="1848"/>
                  <a:pt x="968" y="1848"/>
                  <a:pt x="968" y="1848"/>
                </a:cubicBezTo>
                <a:cubicBezTo>
                  <a:pt x="968" y="1846"/>
                  <a:pt x="969" y="1845"/>
                  <a:pt x="970" y="1843"/>
                </a:cubicBezTo>
                <a:cubicBezTo>
                  <a:pt x="971" y="1842"/>
                  <a:pt x="973" y="1841"/>
                  <a:pt x="974" y="1841"/>
                </a:cubicBezTo>
                <a:cubicBezTo>
                  <a:pt x="974" y="1840"/>
                  <a:pt x="974" y="1840"/>
                  <a:pt x="974" y="1840"/>
                </a:cubicBezTo>
                <a:cubicBezTo>
                  <a:pt x="975" y="1840"/>
                  <a:pt x="975" y="1840"/>
                  <a:pt x="975" y="1840"/>
                </a:cubicBezTo>
                <a:cubicBezTo>
                  <a:pt x="976" y="1840"/>
                  <a:pt x="976" y="1839"/>
                  <a:pt x="976" y="1839"/>
                </a:cubicBezTo>
                <a:cubicBezTo>
                  <a:pt x="976" y="1839"/>
                  <a:pt x="977" y="1839"/>
                  <a:pt x="977" y="1839"/>
                </a:cubicBezTo>
                <a:cubicBezTo>
                  <a:pt x="978" y="1839"/>
                  <a:pt x="978" y="1838"/>
                  <a:pt x="979" y="1838"/>
                </a:cubicBezTo>
                <a:cubicBezTo>
                  <a:pt x="980" y="1838"/>
                  <a:pt x="980" y="1838"/>
                  <a:pt x="980" y="1838"/>
                </a:cubicBezTo>
                <a:cubicBezTo>
                  <a:pt x="981" y="1837"/>
                  <a:pt x="982" y="1837"/>
                  <a:pt x="983" y="1837"/>
                </a:cubicBezTo>
                <a:cubicBezTo>
                  <a:pt x="983" y="1837"/>
                  <a:pt x="984" y="1837"/>
                  <a:pt x="984" y="1837"/>
                </a:cubicBezTo>
                <a:cubicBezTo>
                  <a:pt x="984" y="1837"/>
                  <a:pt x="984" y="1837"/>
                  <a:pt x="985" y="1837"/>
                </a:cubicBezTo>
                <a:cubicBezTo>
                  <a:pt x="985" y="1837"/>
                  <a:pt x="985" y="1837"/>
                  <a:pt x="986" y="1836"/>
                </a:cubicBezTo>
                <a:cubicBezTo>
                  <a:pt x="988" y="1836"/>
                  <a:pt x="991" y="1836"/>
                  <a:pt x="993" y="1836"/>
                </a:cubicBezTo>
                <a:cubicBezTo>
                  <a:pt x="995" y="1836"/>
                  <a:pt x="995" y="1836"/>
                  <a:pt x="995" y="1836"/>
                </a:cubicBezTo>
                <a:cubicBezTo>
                  <a:pt x="998" y="1836"/>
                  <a:pt x="1000" y="1836"/>
                  <a:pt x="1003" y="1836"/>
                </a:cubicBezTo>
                <a:cubicBezTo>
                  <a:pt x="1038" y="1836"/>
                  <a:pt x="1038" y="1836"/>
                  <a:pt x="1038" y="1836"/>
                </a:cubicBezTo>
                <a:cubicBezTo>
                  <a:pt x="1038" y="1836"/>
                  <a:pt x="1039" y="1836"/>
                  <a:pt x="1040" y="1836"/>
                </a:cubicBezTo>
                <a:cubicBezTo>
                  <a:pt x="1040" y="1836"/>
                  <a:pt x="1040" y="1836"/>
                  <a:pt x="1041" y="1836"/>
                </a:cubicBezTo>
                <a:cubicBezTo>
                  <a:pt x="1042" y="1836"/>
                  <a:pt x="1042" y="1836"/>
                  <a:pt x="1043" y="1836"/>
                </a:cubicBezTo>
                <a:cubicBezTo>
                  <a:pt x="1050" y="1837"/>
                  <a:pt x="1058" y="1839"/>
                  <a:pt x="1061" y="1844"/>
                </a:cubicBezTo>
                <a:cubicBezTo>
                  <a:pt x="1061" y="1845"/>
                  <a:pt x="1061" y="1845"/>
                  <a:pt x="1061" y="1846"/>
                </a:cubicBezTo>
                <a:cubicBezTo>
                  <a:pt x="1061" y="1846"/>
                  <a:pt x="1061" y="1846"/>
                  <a:pt x="1061" y="1846"/>
                </a:cubicBezTo>
                <a:cubicBezTo>
                  <a:pt x="1063" y="1853"/>
                  <a:pt x="1062" y="1863"/>
                  <a:pt x="1062" y="1870"/>
                </a:cubicBezTo>
                <a:cubicBezTo>
                  <a:pt x="1062" y="1872"/>
                  <a:pt x="1062" y="1872"/>
                  <a:pt x="1062" y="1872"/>
                </a:cubicBezTo>
                <a:cubicBezTo>
                  <a:pt x="1062" y="1873"/>
                  <a:pt x="1062" y="1874"/>
                  <a:pt x="1061" y="1876"/>
                </a:cubicBezTo>
                <a:cubicBezTo>
                  <a:pt x="1054" y="1889"/>
                  <a:pt x="1022" y="1885"/>
                  <a:pt x="1010" y="1885"/>
                </a:cubicBezTo>
                <a:cubicBezTo>
                  <a:pt x="1003" y="1885"/>
                  <a:pt x="996" y="1885"/>
                  <a:pt x="989" y="1885"/>
                </a:cubicBezTo>
                <a:cubicBezTo>
                  <a:pt x="983" y="1885"/>
                  <a:pt x="974" y="1884"/>
                  <a:pt x="969" y="1879"/>
                </a:cubicBezTo>
                <a:cubicBezTo>
                  <a:pt x="969" y="1879"/>
                  <a:pt x="969" y="1879"/>
                  <a:pt x="968" y="1879"/>
                </a:cubicBezTo>
                <a:cubicBezTo>
                  <a:pt x="968" y="1879"/>
                  <a:pt x="968" y="1878"/>
                  <a:pt x="968" y="1878"/>
                </a:cubicBezTo>
                <a:cubicBezTo>
                  <a:pt x="967" y="1878"/>
                  <a:pt x="967" y="1878"/>
                  <a:pt x="967" y="1877"/>
                </a:cubicBezTo>
                <a:cubicBezTo>
                  <a:pt x="967" y="1877"/>
                  <a:pt x="967" y="1877"/>
                  <a:pt x="967" y="1877"/>
                </a:cubicBezTo>
                <a:cubicBezTo>
                  <a:pt x="967" y="1877"/>
                  <a:pt x="967" y="1877"/>
                  <a:pt x="967" y="1877"/>
                </a:cubicBezTo>
                <a:cubicBezTo>
                  <a:pt x="966" y="1876"/>
                  <a:pt x="966" y="1876"/>
                  <a:pt x="966" y="1875"/>
                </a:cubicBezTo>
                <a:cubicBezTo>
                  <a:pt x="965" y="1874"/>
                  <a:pt x="965" y="1873"/>
                  <a:pt x="965" y="1872"/>
                </a:cubicBezTo>
                <a:lnTo>
                  <a:pt x="965" y="1871"/>
                </a:lnTo>
                <a:close/>
                <a:moveTo>
                  <a:pt x="956" y="1955"/>
                </a:moveTo>
                <a:cubicBezTo>
                  <a:pt x="956" y="1952"/>
                  <a:pt x="956" y="1952"/>
                  <a:pt x="956" y="1952"/>
                </a:cubicBezTo>
                <a:cubicBezTo>
                  <a:pt x="956" y="1952"/>
                  <a:pt x="956" y="1951"/>
                  <a:pt x="956" y="1951"/>
                </a:cubicBezTo>
                <a:cubicBezTo>
                  <a:pt x="957" y="1943"/>
                  <a:pt x="958" y="1935"/>
                  <a:pt x="959" y="1926"/>
                </a:cubicBezTo>
                <a:cubicBezTo>
                  <a:pt x="959" y="1926"/>
                  <a:pt x="959" y="1926"/>
                  <a:pt x="959" y="1926"/>
                </a:cubicBezTo>
                <a:cubicBezTo>
                  <a:pt x="959" y="1926"/>
                  <a:pt x="959" y="1926"/>
                  <a:pt x="959" y="1925"/>
                </a:cubicBezTo>
                <a:cubicBezTo>
                  <a:pt x="963" y="1907"/>
                  <a:pt x="999" y="1911"/>
                  <a:pt x="1013" y="1911"/>
                </a:cubicBezTo>
                <a:cubicBezTo>
                  <a:pt x="1025" y="1911"/>
                  <a:pt x="1055" y="1908"/>
                  <a:pt x="1061" y="1921"/>
                </a:cubicBezTo>
                <a:cubicBezTo>
                  <a:pt x="1062" y="1923"/>
                  <a:pt x="1063" y="1924"/>
                  <a:pt x="1063" y="1926"/>
                </a:cubicBezTo>
                <a:cubicBezTo>
                  <a:pt x="1063" y="1940"/>
                  <a:pt x="1063" y="1940"/>
                  <a:pt x="1063" y="1940"/>
                </a:cubicBezTo>
                <a:cubicBezTo>
                  <a:pt x="1063" y="1945"/>
                  <a:pt x="1063" y="1949"/>
                  <a:pt x="1063" y="1953"/>
                </a:cubicBezTo>
                <a:cubicBezTo>
                  <a:pt x="1063" y="1953"/>
                  <a:pt x="1063" y="1953"/>
                  <a:pt x="1063" y="1953"/>
                </a:cubicBezTo>
                <a:cubicBezTo>
                  <a:pt x="1063" y="1955"/>
                  <a:pt x="1063" y="1955"/>
                  <a:pt x="1063" y="1955"/>
                </a:cubicBezTo>
                <a:cubicBezTo>
                  <a:pt x="1063" y="1957"/>
                  <a:pt x="1062" y="1959"/>
                  <a:pt x="1061" y="1961"/>
                </a:cubicBezTo>
                <a:cubicBezTo>
                  <a:pt x="1061" y="1962"/>
                  <a:pt x="1060" y="1962"/>
                  <a:pt x="1060" y="1962"/>
                </a:cubicBezTo>
                <a:cubicBezTo>
                  <a:pt x="1060" y="1963"/>
                  <a:pt x="1059" y="1963"/>
                  <a:pt x="1059" y="1964"/>
                </a:cubicBezTo>
                <a:cubicBezTo>
                  <a:pt x="1058" y="1964"/>
                  <a:pt x="1058" y="1964"/>
                  <a:pt x="1058" y="1964"/>
                </a:cubicBezTo>
                <a:cubicBezTo>
                  <a:pt x="1055" y="1967"/>
                  <a:pt x="1051" y="1969"/>
                  <a:pt x="1046" y="1970"/>
                </a:cubicBezTo>
                <a:cubicBezTo>
                  <a:pt x="1046" y="1970"/>
                  <a:pt x="1046" y="1970"/>
                  <a:pt x="1046" y="1970"/>
                </a:cubicBezTo>
                <a:cubicBezTo>
                  <a:pt x="1046" y="1970"/>
                  <a:pt x="1046" y="1970"/>
                  <a:pt x="1046" y="1970"/>
                </a:cubicBezTo>
                <a:cubicBezTo>
                  <a:pt x="1044" y="1971"/>
                  <a:pt x="1043" y="1971"/>
                  <a:pt x="1041" y="1971"/>
                </a:cubicBezTo>
                <a:cubicBezTo>
                  <a:pt x="1041" y="1971"/>
                  <a:pt x="1040" y="1971"/>
                  <a:pt x="1040" y="1971"/>
                </a:cubicBezTo>
                <a:cubicBezTo>
                  <a:pt x="1038" y="1971"/>
                  <a:pt x="1037" y="1972"/>
                  <a:pt x="1035" y="1972"/>
                </a:cubicBezTo>
                <a:cubicBezTo>
                  <a:pt x="1035" y="1972"/>
                  <a:pt x="1035" y="1972"/>
                  <a:pt x="1035" y="1972"/>
                </a:cubicBezTo>
                <a:cubicBezTo>
                  <a:pt x="982" y="1972"/>
                  <a:pt x="982" y="1972"/>
                  <a:pt x="982" y="1972"/>
                </a:cubicBezTo>
                <a:cubicBezTo>
                  <a:pt x="976" y="1972"/>
                  <a:pt x="969" y="1971"/>
                  <a:pt x="963" y="1967"/>
                </a:cubicBezTo>
                <a:cubicBezTo>
                  <a:pt x="963" y="1967"/>
                  <a:pt x="963" y="1967"/>
                  <a:pt x="963" y="1967"/>
                </a:cubicBezTo>
                <a:cubicBezTo>
                  <a:pt x="963" y="1967"/>
                  <a:pt x="963" y="1967"/>
                  <a:pt x="963" y="1967"/>
                </a:cubicBezTo>
                <a:cubicBezTo>
                  <a:pt x="962" y="1966"/>
                  <a:pt x="961" y="1965"/>
                  <a:pt x="960" y="1964"/>
                </a:cubicBezTo>
                <a:cubicBezTo>
                  <a:pt x="959" y="1964"/>
                  <a:pt x="958" y="1963"/>
                  <a:pt x="958" y="1962"/>
                </a:cubicBezTo>
                <a:cubicBezTo>
                  <a:pt x="958" y="1962"/>
                  <a:pt x="958" y="1962"/>
                  <a:pt x="957" y="1962"/>
                </a:cubicBezTo>
                <a:cubicBezTo>
                  <a:pt x="956" y="1960"/>
                  <a:pt x="956" y="1957"/>
                  <a:pt x="956" y="1955"/>
                </a:cubicBezTo>
                <a:close/>
                <a:moveTo>
                  <a:pt x="820" y="1872"/>
                </a:moveTo>
                <a:cubicBezTo>
                  <a:pt x="820" y="1872"/>
                  <a:pt x="820" y="1872"/>
                  <a:pt x="820" y="1872"/>
                </a:cubicBezTo>
                <a:cubicBezTo>
                  <a:pt x="820" y="1872"/>
                  <a:pt x="820" y="1872"/>
                  <a:pt x="820" y="1872"/>
                </a:cubicBezTo>
                <a:cubicBezTo>
                  <a:pt x="820" y="1870"/>
                  <a:pt x="821" y="1868"/>
                  <a:pt x="822" y="1866"/>
                </a:cubicBezTo>
                <a:cubicBezTo>
                  <a:pt x="823" y="1861"/>
                  <a:pt x="824" y="1854"/>
                  <a:pt x="827" y="1849"/>
                </a:cubicBezTo>
                <a:cubicBezTo>
                  <a:pt x="827" y="1848"/>
                  <a:pt x="827" y="1848"/>
                  <a:pt x="827" y="1848"/>
                </a:cubicBezTo>
                <a:cubicBezTo>
                  <a:pt x="827" y="1847"/>
                  <a:pt x="829" y="1845"/>
                  <a:pt x="830" y="1844"/>
                </a:cubicBezTo>
                <a:cubicBezTo>
                  <a:pt x="831" y="1843"/>
                  <a:pt x="832" y="1842"/>
                  <a:pt x="833" y="1841"/>
                </a:cubicBezTo>
                <a:cubicBezTo>
                  <a:pt x="837" y="1839"/>
                  <a:pt x="840" y="1838"/>
                  <a:pt x="844" y="1837"/>
                </a:cubicBezTo>
                <a:cubicBezTo>
                  <a:pt x="845" y="1837"/>
                  <a:pt x="845" y="1837"/>
                  <a:pt x="845" y="1837"/>
                </a:cubicBezTo>
                <a:cubicBezTo>
                  <a:pt x="848" y="1836"/>
                  <a:pt x="851" y="1836"/>
                  <a:pt x="855" y="1836"/>
                </a:cubicBezTo>
                <a:cubicBezTo>
                  <a:pt x="859" y="1836"/>
                  <a:pt x="859" y="1836"/>
                  <a:pt x="859" y="1836"/>
                </a:cubicBezTo>
                <a:cubicBezTo>
                  <a:pt x="861" y="1836"/>
                  <a:pt x="862" y="1836"/>
                  <a:pt x="864" y="1836"/>
                </a:cubicBezTo>
                <a:cubicBezTo>
                  <a:pt x="873" y="1836"/>
                  <a:pt x="883" y="1836"/>
                  <a:pt x="893" y="1836"/>
                </a:cubicBezTo>
                <a:cubicBezTo>
                  <a:pt x="894" y="1836"/>
                  <a:pt x="896" y="1836"/>
                  <a:pt x="897" y="1836"/>
                </a:cubicBezTo>
                <a:cubicBezTo>
                  <a:pt x="899" y="1836"/>
                  <a:pt x="899" y="1836"/>
                  <a:pt x="899" y="1836"/>
                </a:cubicBezTo>
                <a:cubicBezTo>
                  <a:pt x="899" y="1836"/>
                  <a:pt x="899" y="1836"/>
                  <a:pt x="900" y="1836"/>
                </a:cubicBezTo>
                <a:cubicBezTo>
                  <a:pt x="901" y="1836"/>
                  <a:pt x="902" y="1836"/>
                  <a:pt x="904" y="1836"/>
                </a:cubicBezTo>
                <a:cubicBezTo>
                  <a:pt x="904" y="1836"/>
                  <a:pt x="904" y="1836"/>
                  <a:pt x="904" y="1836"/>
                </a:cubicBezTo>
                <a:cubicBezTo>
                  <a:pt x="911" y="1837"/>
                  <a:pt x="919" y="1839"/>
                  <a:pt x="921" y="1846"/>
                </a:cubicBezTo>
                <a:cubicBezTo>
                  <a:pt x="921" y="1846"/>
                  <a:pt x="921" y="1846"/>
                  <a:pt x="921" y="1846"/>
                </a:cubicBezTo>
                <a:cubicBezTo>
                  <a:pt x="921" y="1846"/>
                  <a:pt x="921" y="1846"/>
                  <a:pt x="921" y="1846"/>
                </a:cubicBezTo>
                <a:cubicBezTo>
                  <a:pt x="921" y="1854"/>
                  <a:pt x="918" y="1863"/>
                  <a:pt x="917" y="1870"/>
                </a:cubicBezTo>
                <a:cubicBezTo>
                  <a:pt x="917" y="1870"/>
                  <a:pt x="917" y="1870"/>
                  <a:pt x="917" y="1870"/>
                </a:cubicBezTo>
                <a:cubicBezTo>
                  <a:pt x="917" y="1872"/>
                  <a:pt x="917" y="1872"/>
                  <a:pt x="917" y="1872"/>
                </a:cubicBezTo>
                <a:cubicBezTo>
                  <a:pt x="916" y="1873"/>
                  <a:pt x="916" y="1875"/>
                  <a:pt x="914" y="1876"/>
                </a:cubicBezTo>
                <a:cubicBezTo>
                  <a:pt x="914" y="1876"/>
                  <a:pt x="914" y="1877"/>
                  <a:pt x="914" y="1877"/>
                </a:cubicBezTo>
                <a:cubicBezTo>
                  <a:pt x="914" y="1877"/>
                  <a:pt x="914" y="1877"/>
                  <a:pt x="914" y="1877"/>
                </a:cubicBezTo>
                <a:cubicBezTo>
                  <a:pt x="914" y="1877"/>
                  <a:pt x="914" y="1877"/>
                  <a:pt x="914" y="1877"/>
                </a:cubicBezTo>
                <a:cubicBezTo>
                  <a:pt x="904" y="1889"/>
                  <a:pt x="878" y="1886"/>
                  <a:pt x="865" y="1886"/>
                </a:cubicBezTo>
                <a:cubicBezTo>
                  <a:pt x="857" y="1886"/>
                  <a:pt x="849" y="1886"/>
                  <a:pt x="841" y="1886"/>
                </a:cubicBezTo>
                <a:cubicBezTo>
                  <a:pt x="834" y="1886"/>
                  <a:pt x="824" y="1884"/>
                  <a:pt x="820" y="1877"/>
                </a:cubicBezTo>
                <a:cubicBezTo>
                  <a:pt x="820" y="1877"/>
                  <a:pt x="820" y="1876"/>
                  <a:pt x="820" y="1875"/>
                </a:cubicBezTo>
                <a:cubicBezTo>
                  <a:pt x="820" y="1875"/>
                  <a:pt x="820" y="1875"/>
                  <a:pt x="820" y="1874"/>
                </a:cubicBezTo>
                <a:cubicBezTo>
                  <a:pt x="820" y="1873"/>
                  <a:pt x="820" y="1873"/>
                  <a:pt x="820" y="1872"/>
                </a:cubicBezTo>
                <a:close/>
                <a:moveTo>
                  <a:pt x="795" y="1956"/>
                </a:moveTo>
                <a:cubicBezTo>
                  <a:pt x="796" y="1952"/>
                  <a:pt x="796" y="1952"/>
                  <a:pt x="796" y="1952"/>
                </a:cubicBezTo>
                <a:cubicBezTo>
                  <a:pt x="796" y="1952"/>
                  <a:pt x="796" y="1952"/>
                  <a:pt x="796" y="1952"/>
                </a:cubicBezTo>
                <a:cubicBezTo>
                  <a:pt x="796" y="1951"/>
                  <a:pt x="796" y="1951"/>
                  <a:pt x="796" y="1950"/>
                </a:cubicBezTo>
                <a:cubicBezTo>
                  <a:pt x="803" y="1926"/>
                  <a:pt x="803" y="1926"/>
                  <a:pt x="803" y="1926"/>
                </a:cubicBezTo>
                <a:cubicBezTo>
                  <a:pt x="804" y="1926"/>
                  <a:pt x="804" y="1926"/>
                  <a:pt x="804" y="1925"/>
                </a:cubicBezTo>
                <a:cubicBezTo>
                  <a:pt x="811" y="1908"/>
                  <a:pt x="843" y="1911"/>
                  <a:pt x="859" y="1911"/>
                </a:cubicBezTo>
                <a:cubicBezTo>
                  <a:pt x="865" y="1911"/>
                  <a:pt x="877" y="1910"/>
                  <a:pt x="888" y="1912"/>
                </a:cubicBezTo>
                <a:cubicBezTo>
                  <a:pt x="890" y="1912"/>
                  <a:pt x="891" y="1912"/>
                  <a:pt x="893" y="1913"/>
                </a:cubicBezTo>
                <a:cubicBezTo>
                  <a:pt x="894" y="1913"/>
                  <a:pt x="894" y="1913"/>
                  <a:pt x="894" y="1913"/>
                </a:cubicBezTo>
                <a:cubicBezTo>
                  <a:pt x="899" y="1914"/>
                  <a:pt x="903" y="1916"/>
                  <a:pt x="905" y="1920"/>
                </a:cubicBezTo>
                <a:cubicBezTo>
                  <a:pt x="906" y="1920"/>
                  <a:pt x="906" y="1920"/>
                  <a:pt x="906" y="1920"/>
                </a:cubicBezTo>
                <a:cubicBezTo>
                  <a:pt x="906" y="1921"/>
                  <a:pt x="906" y="1921"/>
                  <a:pt x="906" y="1921"/>
                </a:cubicBezTo>
                <a:cubicBezTo>
                  <a:pt x="906" y="1921"/>
                  <a:pt x="906" y="1921"/>
                  <a:pt x="906" y="1921"/>
                </a:cubicBezTo>
                <a:cubicBezTo>
                  <a:pt x="907" y="1923"/>
                  <a:pt x="907" y="1924"/>
                  <a:pt x="907" y="1926"/>
                </a:cubicBezTo>
                <a:cubicBezTo>
                  <a:pt x="907" y="1928"/>
                  <a:pt x="907" y="1928"/>
                  <a:pt x="907" y="1928"/>
                </a:cubicBezTo>
                <a:cubicBezTo>
                  <a:pt x="907" y="1928"/>
                  <a:pt x="907" y="1928"/>
                  <a:pt x="907" y="1928"/>
                </a:cubicBezTo>
                <a:cubicBezTo>
                  <a:pt x="906" y="1932"/>
                  <a:pt x="905" y="1936"/>
                  <a:pt x="904" y="1941"/>
                </a:cubicBezTo>
                <a:cubicBezTo>
                  <a:pt x="902" y="1955"/>
                  <a:pt x="902" y="1955"/>
                  <a:pt x="902" y="1955"/>
                </a:cubicBezTo>
                <a:cubicBezTo>
                  <a:pt x="901" y="1958"/>
                  <a:pt x="900" y="1960"/>
                  <a:pt x="899" y="1962"/>
                </a:cubicBezTo>
                <a:cubicBezTo>
                  <a:pt x="898" y="1962"/>
                  <a:pt x="898" y="1962"/>
                  <a:pt x="898" y="1962"/>
                </a:cubicBezTo>
                <a:cubicBezTo>
                  <a:pt x="898" y="1963"/>
                  <a:pt x="897" y="1963"/>
                  <a:pt x="897" y="1963"/>
                </a:cubicBezTo>
                <a:cubicBezTo>
                  <a:pt x="897" y="1964"/>
                  <a:pt x="896" y="1964"/>
                  <a:pt x="895" y="1965"/>
                </a:cubicBezTo>
                <a:cubicBezTo>
                  <a:pt x="891" y="1968"/>
                  <a:pt x="887" y="1969"/>
                  <a:pt x="882" y="1971"/>
                </a:cubicBezTo>
                <a:cubicBezTo>
                  <a:pt x="882" y="1971"/>
                  <a:pt x="882" y="1971"/>
                  <a:pt x="882" y="1971"/>
                </a:cubicBezTo>
                <a:cubicBezTo>
                  <a:pt x="882" y="1971"/>
                  <a:pt x="882" y="1971"/>
                  <a:pt x="882" y="1971"/>
                </a:cubicBezTo>
                <a:cubicBezTo>
                  <a:pt x="880" y="1971"/>
                  <a:pt x="879" y="1971"/>
                  <a:pt x="877" y="1971"/>
                </a:cubicBezTo>
                <a:cubicBezTo>
                  <a:pt x="877" y="1972"/>
                  <a:pt x="876" y="1972"/>
                  <a:pt x="876" y="1972"/>
                </a:cubicBezTo>
                <a:cubicBezTo>
                  <a:pt x="874" y="1972"/>
                  <a:pt x="872" y="1972"/>
                  <a:pt x="871" y="1972"/>
                </a:cubicBezTo>
                <a:cubicBezTo>
                  <a:pt x="871" y="1972"/>
                  <a:pt x="871" y="1972"/>
                  <a:pt x="871" y="1972"/>
                </a:cubicBezTo>
                <a:cubicBezTo>
                  <a:pt x="818" y="1972"/>
                  <a:pt x="818" y="1972"/>
                  <a:pt x="818" y="1972"/>
                </a:cubicBezTo>
                <a:cubicBezTo>
                  <a:pt x="812" y="1972"/>
                  <a:pt x="805" y="1971"/>
                  <a:pt x="799" y="1967"/>
                </a:cubicBezTo>
                <a:cubicBezTo>
                  <a:pt x="799" y="1967"/>
                  <a:pt x="799" y="1967"/>
                  <a:pt x="799" y="1967"/>
                </a:cubicBezTo>
                <a:cubicBezTo>
                  <a:pt x="799" y="1967"/>
                  <a:pt x="799" y="1967"/>
                  <a:pt x="799" y="1967"/>
                </a:cubicBezTo>
                <a:cubicBezTo>
                  <a:pt x="798" y="1967"/>
                  <a:pt x="797" y="1966"/>
                  <a:pt x="797" y="1965"/>
                </a:cubicBezTo>
                <a:cubicBezTo>
                  <a:pt x="796" y="1964"/>
                  <a:pt x="796" y="1963"/>
                  <a:pt x="795" y="1963"/>
                </a:cubicBezTo>
                <a:cubicBezTo>
                  <a:pt x="795" y="1962"/>
                  <a:pt x="795" y="1962"/>
                  <a:pt x="795" y="1962"/>
                </a:cubicBezTo>
                <a:cubicBezTo>
                  <a:pt x="794" y="1960"/>
                  <a:pt x="794" y="1958"/>
                  <a:pt x="795" y="1956"/>
                </a:cubicBezTo>
                <a:close/>
                <a:moveTo>
                  <a:pt x="674" y="1875"/>
                </a:moveTo>
                <a:cubicBezTo>
                  <a:pt x="674" y="1872"/>
                  <a:pt x="676" y="1869"/>
                  <a:pt x="677" y="1867"/>
                </a:cubicBezTo>
                <a:cubicBezTo>
                  <a:pt x="680" y="1861"/>
                  <a:pt x="683" y="1852"/>
                  <a:pt x="687" y="1847"/>
                </a:cubicBezTo>
                <a:cubicBezTo>
                  <a:pt x="688" y="1846"/>
                  <a:pt x="688" y="1846"/>
                  <a:pt x="688" y="1846"/>
                </a:cubicBezTo>
                <a:cubicBezTo>
                  <a:pt x="688" y="1846"/>
                  <a:pt x="689" y="1845"/>
                  <a:pt x="689" y="1845"/>
                </a:cubicBezTo>
                <a:cubicBezTo>
                  <a:pt x="689" y="1845"/>
                  <a:pt x="689" y="1845"/>
                  <a:pt x="690" y="1844"/>
                </a:cubicBezTo>
                <a:cubicBezTo>
                  <a:pt x="690" y="1844"/>
                  <a:pt x="690" y="1844"/>
                  <a:pt x="690" y="1844"/>
                </a:cubicBezTo>
                <a:cubicBezTo>
                  <a:pt x="690" y="1844"/>
                  <a:pt x="691" y="1844"/>
                  <a:pt x="691" y="1843"/>
                </a:cubicBezTo>
                <a:cubicBezTo>
                  <a:pt x="695" y="1840"/>
                  <a:pt x="700" y="1838"/>
                  <a:pt x="706" y="1838"/>
                </a:cubicBezTo>
                <a:cubicBezTo>
                  <a:pt x="706" y="1837"/>
                  <a:pt x="706" y="1837"/>
                  <a:pt x="706" y="1837"/>
                </a:cubicBezTo>
                <a:cubicBezTo>
                  <a:pt x="709" y="1837"/>
                  <a:pt x="713" y="1836"/>
                  <a:pt x="716" y="1836"/>
                </a:cubicBezTo>
                <a:cubicBezTo>
                  <a:pt x="734" y="1836"/>
                  <a:pt x="734" y="1836"/>
                  <a:pt x="734" y="1836"/>
                </a:cubicBezTo>
                <a:cubicBezTo>
                  <a:pt x="740" y="1836"/>
                  <a:pt x="746" y="1836"/>
                  <a:pt x="751" y="1836"/>
                </a:cubicBezTo>
                <a:cubicBezTo>
                  <a:pt x="759" y="1836"/>
                  <a:pt x="771" y="1835"/>
                  <a:pt x="777" y="1841"/>
                </a:cubicBezTo>
                <a:cubicBezTo>
                  <a:pt x="778" y="1841"/>
                  <a:pt x="778" y="1842"/>
                  <a:pt x="778" y="1842"/>
                </a:cubicBezTo>
                <a:cubicBezTo>
                  <a:pt x="778" y="1842"/>
                  <a:pt x="779" y="1842"/>
                  <a:pt x="779" y="1842"/>
                </a:cubicBezTo>
                <a:cubicBezTo>
                  <a:pt x="779" y="1842"/>
                  <a:pt x="779" y="1843"/>
                  <a:pt x="779" y="1843"/>
                </a:cubicBezTo>
                <a:cubicBezTo>
                  <a:pt x="779" y="1843"/>
                  <a:pt x="779" y="1843"/>
                  <a:pt x="780" y="1844"/>
                </a:cubicBezTo>
                <a:cubicBezTo>
                  <a:pt x="780" y="1845"/>
                  <a:pt x="780" y="1846"/>
                  <a:pt x="780" y="1847"/>
                </a:cubicBezTo>
                <a:cubicBezTo>
                  <a:pt x="779" y="1854"/>
                  <a:pt x="774" y="1863"/>
                  <a:pt x="773" y="1867"/>
                </a:cubicBezTo>
                <a:cubicBezTo>
                  <a:pt x="773" y="1867"/>
                  <a:pt x="773" y="1867"/>
                  <a:pt x="773" y="1867"/>
                </a:cubicBezTo>
                <a:cubicBezTo>
                  <a:pt x="772" y="1869"/>
                  <a:pt x="772" y="1870"/>
                  <a:pt x="771" y="1871"/>
                </a:cubicBezTo>
                <a:cubicBezTo>
                  <a:pt x="771" y="1872"/>
                  <a:pt x="771" y="1872"/>
                  <a:pt x="771" y="1872"/>
                </a:cubicBezTo>
                <a:cubicBezTo>
                  <a:pt x="771" y="1873"/>
                  <a:pt x="771" y="1873"/>
                  <a:pt x="770" y="1873"/>
                </a:cubicBezTo>
                <a:cubicBezTo>
                  <a:pt x="770" y="1874"/>
                  <a:pt x="770" y="1874"/>
                  <a:pt x="770" y="1874"/>
                </a:cubicBezTo>
                <a:cubicBezTo>
                  <a:pt x="770" y="1875"/>
                  <a:pt x="769" y="1875"/>
                  <a:pt x="769" y="1876"/>
                </a:cubicBezTo>
                <a:cubicBezTo>
                  <a:pt x="769" y="1876"/>
                  <a:pt x="769" y="1876"/>
                  <a:pt x="768" y="1876"/>
                </a:cubicBezTo>
                <a:cubicBezTo>
                  <a:pt x="768" y="1876"/>
                  <a:pt x="768" y="1877"/>
                  <a:pt x="768" y="1877"/>
                </a:cubicBezTo>
                <a:cubicBezTo>
                  <a:pt x="768" y="1877"/>
                  <a:pt x="767" y="1877"/>
                  <a:pt x="767" y="1877"/>
                </a:cubicBezTo>
                <a:cubicBezTo>
                  <a:pt x="766" y="1878"/>
                  <a:pt x="765" y="1879"/>
                  <a:pt x="764" y="1880"/>
                </a:cubicBezTo>
                <a:cubicBezTo>
                  <a:pt x="763" y="1880"/>
                  <a:pt x="762" y="1881"/>
                  <a:pt x="761" y="1881"/>
                </a:cubicBezTo>
                <a:cubicBezTo>
                  <a:pt x="760" y="1882"/>
                  <a:pt x="760" y="1882"/>
                  <a:pt x="760" y="1882"/>
                </a:cubicBezTo>
                <a:cubicBezTo>
                  <a:pt x="760" y="1882"/>
                  <a:pt x="760" y="1882"/>
                  <a:pt x="760" y="1882"/>
                </a:cubicBezTo>
                <a:cubicBezTo>
                  <a:pt x="756" y="1883"/>
                  <a:pt x="752" y="1885"/>
                  <a:pt x="749" y="1885"/>
                </a:cubicBezTo>
                <a:cubicBezTo>
                  <a:pt x="748" y="1885"/>
                  <a:pt x="746" y="1885"/>
                  <a:pt x="745" y="1886"/>
                </a:cubicBezTo>
                <a:cubicBezTo>
                  <a:pt x="745" y="1886"/>
                  <a:pt x="745" y="1886"/>
                  <a:pt x="745" y="1886"/>
                </a:cubicBezTo>
                <a:cubicBezTo>
                  <a:pt x="738" y="1886"/>
                  <a:pt x="730" y="1886"/>
                  <a:pt x="723" y="1886"/>
                </a:cubicBezTo>
                <a:cubicBezTo>
                  <a:pt x="693" y="1886"/>
                  <a:pt x="693" y="1886"/>
                  <a:pt x="693" y="1886"/>
                </a:cubicBezTo>
                <a:cubicBezTo>
                  <a:pt x="687" y="1886"/>
                  <a:pt x="676" y="1885"/>
                  <a:pt x="674" y="1878"/>
                </a:cubicBezTo>
                <a:cubicBezTo>
                  <a:pt x="673" y="1877"/>
                  <a:pt x="673" y="1876"/>
                  <a:pt x="673" y="1876"/>
                </a:cubicBezTo>
                <a:cubicBezTo>
                  <a:pt x="673" y="1875"/>
                  <a:pt x="674" y="1875"/>
                  <a:pt x="674" y="1875"/>
                </a:cubicBezTo>
                <a:close/>
                <a:moveTo>
                  <a:pt x="647" y="1928"/>
                </a:moveTo>
                <a:cubicBezTo>
                  <a:pt x="648" y="1927"/>
                  <a:pt x="648" y="1927"/>
                  <a:pt x="648" y="1927"/>
                </a:cubicBezTo>
                <a:cubicBezTo>
                  <a:pt x="648" y="1926"/>
                  <a:pt x="648" y="1926"/>
                  <a:pt x="648" y="1926"/>
                </a:cubicBezTo>
                <a:cubicBezTo>
                  <a:pt x="649" y="1925"/>
                  <a:pt x="649" y="1924"/>
                  <a:pt x="650" y="1924"/>
                </a:cubicBezTo>
                <a:cubicBezTo>
                  <a:pt x="650" y="1924"/>
                  <a:pt x="650" y="1924"/>
                  <a:pt x="650" y="1924"/>
                </a:cubicBezTo>
                <a:cubicBezTo>
                  <a:pt x="661" y="1909"/>
                  <a:pt x="687" y="1912"/>
                  <a:pt x="703" y="1912"/>
                </a:cubicBezTo>
                <a:cubicBezTo>
                  <a:pt x="703" y="1912"/>
                  <a:pt x="703" y="1912"/>
                  <a:pt x="703" y="1912"/>
                </a:cubicBezTo>
                <a:cubicBezTo>
                  <a:pt x="708" y="1912"/>
                  <a:pt x="720" y="1911"/>
                  <a:pt x="730" y="1912"/>
                </a:cubicBezTo>
                <a:cubicBezTo>
                  <a:pt x="734" y="1912"/>
                  <a:pt x="737" y="1912"/>
                  <a:pt x="740" y="1913"/>
                </a:cubicBezTo>
                <a:cubicBezTo>
                  <a:pt x="742" y="1913"/>
                  <a:pt x="744" y="1914"/>
                  <a:pt x="745" y="1915"/>
                </a:cubicBezTo>
                <a:cubicBezTo>
                  <a:pt x="749" y="1917"/>
                  <a:pt x="752" y="1919"/>
                  <a:pt x="752" y="1923"/>
                </a:cubicBezTo>
                <a:cubicBezTo>
                  <a:pt x="752" y="1923"/>
                  <a:pt x="752" y="1924"/>
                  <a:pt x="752" y="1924"/>
                </a:cubicBezTo>
                <a:cubicBezTo>
                  <a:pt x="752" y="1924"/>
                  <a:pt x="752" y="1924"/>
                  <a:pt x="752" y="1924"/>
                </a:cubicBezTo>
                <a:cubicBezTo>
                  <a:pt x="752" y="1925"/>
                  <a:pt x="751" y="1926"/>
                  <a:pt x="751" y="1927"/>
                </a:cubicBezTo>
                <a:cubicBezTo>
                  <a:pt x="741" y="1956"/>
                  <a:pt x="741" y="1956"/>
                  <a:pt x="741" y="1956"/>
                </a:cubicBezTo>
                <a:cubicBezTo>
                  <a:pt x="740" y="1958"/>
                  <a:pt x="738" y="1960"/>
                  <a:pt x="736" y="1962"/>
                </a:cubicBezTo>
                <a:cubicBezTo>
                  <a:pt x="734" y="1964"/>
                  <a:pt x="731" y="1966"/>
                  <a:pt x="728" y="1967"/>
                </a:cubicBezTo>
                <a:cubicBezTo>
                  <a:pt x="728" y="1968"/>
                  <a:pt x="727" y="1968"/>
                  <a:pt x="727" y="1968"/>
                </a:cubicBezTo>
                <a:cubicBezTo>
                  <a:pt x="723" y="1970"/>
                  <a:pt x="718" y="1971"/>
                  <a:pt x="713" y="1972"/>
                </a:cubicBezTo>
                <a:cubicBezTo>
                  <a:pt x="713" y="1972"/>
                  <a:pt x="713" y="1972"/>
                  <a:pt x="713" y="1972"/>
                </a:cubicBezTo>
                <a:cubicBezTo>
                  <a:pt x="712" y="1972"/>
                  <a:pt x="711" y="1972"/>
                  <a:pt x="710" y="1972"/>
                </a:cubicBezTo>
                <a:cubicBezTo>
                  <a:pt x="701" y="1973"/>
                  <a:pt x="692" y="1972"/>
                  <a:pt x="682" y="1972"/>
                </a:cubicBezTo>
                <a:cubicBezTo>
                  <a:pt x="673" y="1973"/>
                  <a:pt x="663" y="1973"/>
                  <a:pt x="654" y="1973"/>
                </a:cubicBezTo>
                <a:cubicBezTo>
                  <a:pt x="647" y="1973"/>
                  <a:pt x="638" y="1971"/>
                  <a:pt x="634" y="1966"/>
                </a:cubicBezTo>
                <a:cubicBezTo>
                  <a:pt x="634" y="1965"/>
                  <a:pt x="634" y="1965"/>
                  <a:pt x="633" y="1965"/>
                </a:cubicBezTo>
                <a:cubicBezTo>
                  <a:pt x="633" y="1964"/>
                  <a:pt x="633" y="1964"/>
                  <a:pt x="633" y="1964"/>
                </a:cubicBezTo>
                <a:cubicBezTo>
                  <a:pt x="633" y="1963"/>
                  <a:pt x="633" y="1963"/>
                  <a:pt x="632" y="1963"/>
                </a:cubicBezTo>
                <a:cubicBezTo>
                  <a:pt x="632" y="1963"/>
                  <a:pt x="632" y="1962"/>
                  <a:pt x="632" y="1962"/>
                </a:cubicBezTo>
                <a:cubicBezTo>
                  <a:pt x="632" y="1962"/>
                  <a:pt x="632" y="1962"/>
                  <a:pt x="632" y="1962"/>
                </a:cubicBezTo>
                <a:cubicBezTo>
                  <a:pt x="632" y="1962"/>
                  <a:pt x="632" y="1961"/>
                  <a:pt x="632" y="1960"/>
                </a:cubicBezTo>
                <a:cubicBezTo>
                  <a:pt x="632" y="1959"/>
                  <a:pt x="632" y="1959"/>
                  <a:pt x="633" y="1959"/>
                </a:cubicBezTo>
                <a:cubicBezTo>
                  <a:pt x="633" y="1958"/>
                  <a:pt x="633" y="1957"/>
                  <a:pt x="633" y="1956"/>
                </a:cubicBezTo>
                <a:cubicBezTo>
                  <a:pt x="633" y="1956"/>
                  <a:pt x="633" y="1956"/>
                  <a:pt x="633" y="1956"/>
                </a:cubicBezTo>
                <a:cubicBezTo>
                  <a:pt x="634" y="1955"/>
                  <a:pt x="634" y="1955"/>
                  <a:pt x="634" y="1955"/>
                </a:cubicBezTo>
                <a:cubicBezTo>
                  <a:pt x="634" y="1954"/>
                  <a:pt x="635" y="1953"/>
                  <a:pt x="635" y="1952"/>
                </a:cubicBezTo>
                <a:cubicBezTo>
                  <a:pt x="639" y="1944"/>
                  <a:pt x="643" y="1936"/>
                  <a:pt x="647" y="1928"/>
                </a:cubicBezTo>
                <a:cubicBezTo>
                  <a:pt x="647" y="1928"/>
                  <a:pt x="647" y="1928"/>
                  <a:pt x="647" y="1928"/>
                </a:cubicBezTo>
                <a:close/>
                <a:moveTo>
                  <a:pt x="527" y="1875"/>
                </a:moveTo>
                <a:cubicBezTo>
                  <a:pt x="528" y="1873"/>
                  <a:pt x="531" y="1870"/>
                  <a:pt x="532" y="1868"/>
                </a:cubicBezTo>
                <a:cubicBezTo>
                  <a:pt x="536" y="1861"/>
                  <a:pt x="541" y="1854"/>
                  <a:pt x="546" y="1848"/>
                </a:cubicBezTo>
                <a:cubicBezTo>
                  <a:pt x="546" y="1847"/>
                  <a:pt x="546" y="1847"/>
                  <a:pt x="547" y="1847"/>
                </a:cubicBezTo>
                <a:cubicBezTo>
                  <a:pt x="547" y="1847"/>
                  <a:pt x="547" y="1847"/>
                  <a:pt x="547" y="1846"/>
                </a:cubicBezTo>
                <a:cubicBezTo>
                  <a:pt x="561" y="1833"/>
                  <a:pt x="590" y="1837"/>
                  <a:pt x="608" y="1837"/>
                </a:cubicBezTo>
                <a:cubicBezTo>
                  <a:pt x="616" y="1837"/>
                  <a:pt x="626" y="1835"/>
                  <a:pt x="634" y="1839"/>
                </a:cubicBezTo>
                <a:cubicBezTo>
                  <a:pt x="634" y="1839"/>
                  <a:pt x="634" y="1839"/>
                  <a:pt x="634" y="1839"/>
                </a:cubicBezTo>
                <a:cubicBezTo>
                  <a:pt x="634" y="1839"/>
                  <a:pt x="635" y="1839"/>
                  <a:pt x="636" y="1840"/>
                </a:cubicBezTo>
                <a:cubicBezTo>
                  <a:pt x="636" y="1840"/>
                  <a:pt x="636" y="1840"/>
                  <a:pt x="636" y="1840"/>
                </a:cubicBezTo>
                <a:cubicBezTo>
                  <a:pt x="638" y="1841"/>
                  <a:pt x="639" y="1843"/>
                  <a:pt x="639" y="1844"/>
                </a:cubicBezTo>
                <a:cubicBezTo>
                  <a:pt x="640" y="1845"/>
                  <a:pt x="640" y="1847"/>
                  <a:pt x="639" y="1849"/>
                </a:cubicBezTo>
                <a:cubicBezTo>
                  <a:pt x="638" y="1850"/>
                  <a:pt x="638" y="1850"/>
                  <a:pt x="638" y="1850"/>
                </a:cubicBezTo>
                <a:cubicBezTo>
                  <a:pt x="637" y="1854"/>
                  <a:pt x="633" y="1858"/>
                  <a:pt x="631" y="1862"/>
                </a:cubicBezTo>
                <a:cubicBezTo>
                  <a:pt x="631" y="1862"/>
                  <a:pt x="631" y="1862"/>
                  <a:pt x="631" y="1862"/>
                </a:cubicBezTo>
                <a:cubicBezTo>
                  <a:pt x="625" y="1873"/>
                  <a:pt x="625" y="1873"/>
                  <a:pt x="625" y="1873"/>
                </a:cubicBezTo>
                <a:cubicBezTo>
                  <a:pt x="624" y="1874"/>
                  <a:pt x="623" y="1876"/>
                  <a:pt x="621" y="1878"/>
                </a:cubicBezTo>
                <a:cubicBezTo>
                  <a:pt x="618" y="1879"/>
                  <a:pt x="616" y="1881"/>
                  <a:pt x="613" y="1882"/>
                </a:cubicBezTo>
                <a:cubicBezTo>
                  <a:pt x="612" y="1882"/>
                  <a:pt x="611" y="1883"/>
                  <a:pt x="610" y="1883"/>
                </a:cubicBezTo>
                <a:cubicBezTo>
                  <a:pt x="610" y="1883"/>
                  <a:pt x="609" y="1883"/>
                  <a:pt x="609" y="1884"/>
                </a:cubicBezTo>
                <a:cubicBezTo>
                  <a:pt x="609" y="1884"/>
                  <a:pt x="609" y="1884"/>
                  <a:pt x="609" y="1884"/>
                </a:cubicBezTo>
                <a:cubicBezTo>
                  <a:pt x="607" y="1884"/>
                  <a:pt x="605" y="1885"/>
                  <a:pt x="603" y="1885"/>
                </a:cubicBezTo>
                <a:cubicBezTo>
                  <a:pt x="599" y="1886"/>
                  <a:pt x="596" y="1886"/>
                  <a:pt x="592" y="1886"/>
                </a:cubicBezTo>
                <a:cubicBezTo>
                  <a:pt x="582" y="1886"/>
                  <a:pt x="582" y="1886"/>
                  <a:pt x="582" y="1886"/>
                </a:cubicBezTo>
                <a:cubicBezTo>
                  <a:pt x="582" y="1886"/>
                  <a:pt x="582" y="1886"/>
                  <a:pt x="582" y="1886"/>
                </a:cubicBezTo>
                <a:cubicBezTo>
                  <a:pt x="570" y="1886"/>
                  <a:pt x="557" y="1886"/>
                  <a:pt x="545" y="1886"/>
                </a:cubicBezTo>
                <a:cubicBezTo>
                  <a:pt x="540" y="1886"/>
                  <a:pt x="528" y="1885"/>
                  <a:pt x="527" y="1878"/>
                </a:cubicBezTo>
                <a:cubicBezTo>
                  <a:pt x="527" y="1877"/>
                  <a:pt x="527" y="1876"/>
                  <a:pt x="527" y="1875"/>
                </a:cubicBezTo>
                <a:close/>
                <a:moveTo>
                  <a:pt x="545" y="2017"/>
                </a:moveTo>
                <a:cubicBezTo>
                  <a:pt x="545" y="2017"/>
                  <a:pt x="545" y="2017"/>
                  <a:pt x="545" y="2017"/>
                </a:cubicBezTo>
                <a:cubicBezTo>
                  <a:pt x="543" y="2024"/>
                  <a:pt x="538" y="2031"/>
                  <a:pt x="534" y="2038"/>
                </a:cubicBezTo>
                <a:cubicBezTo>
                  <a:pt x="534" y="2038"/>
                  <a:pt x="534" y="2038"/>
                  <a:pt x="534" y="2038"/>
                </a:cubicBezTo>
                <a:cubicBezTo>
                  <a:pt x="530" y="2045"/>
                  <a:pt x="527" y="2053"/>
                  <a:pt x="521" y="2060"/>
                </a:cubicBezTo>
                <a:cubicBezTo>
                  <a:pt x="521" y="2061"/>
                  <a:pt x="520" y="2061"/>
                  <a:pt x="520" y="2062"/>
                </a:cubicBezTo>
                <a:cubicBezTo>
                  <a:pt x="520" y="2062"/>
                  <a:pt x="520" y="2062"/>
                  <a:pt x="520" y="2062"/>
                </a:cubicBezTo>
                <a:cubicBezTo>
                  <a:pt x="519" y="2063"/>
                  <a:pt x="518" y="2064"/>
                  <a:pt x="517" y="2064"/>
                </a:cubicBezTo>
                <a:cubicBezTo>
                  <a:pt x="517" y="2065"/>
                  <a:pt x="517" y="2065"/>
                  <a:pt x="516" y="2065"/>
                </a:cubicBezTo>
                <a:cubicBezTo>
                  <a:pt x="516" y="2065"/>
                  <a:pt x="516" y="2066"/>
                  <a:pt x="516" y="2066"/>
                </a:cubicBezTo>
                <a:cubicBezTo>
                  <a:pt x="510" y="2071"/>
                  <a:pt x="503" y="2074"/>
                  <a:pt x="496" y="2076"/>
                </a:cubicBezTo>
                <a:cubicBezTo>
                  <a:pt x="495" y="2076"/>
                  <a:pt x="494" y="2076"/>
                  <a:pt x="493" y="2077"/>
                </a:cubicBezTo>
                <a:cubicBezTo>
                  <a:pt x="489" y="2078"/>
                  <a:pt x="484" y="2078"/>
                  <a:pt x="480" y="2078"/>
                </a:cubicBezTo>
                <a:cubicBezTo>
                  <a:pt x="476" y="2078"/>
                  <a:pt x="476" y="2078"/>
                  <a:pt x="476" y="2078"/>
                </a:cubicBezTo>
                <a:cubicBezTo>
                  <a:pt x="476" y="2078"/>
                  <a:pt x="476" y="2078"/>
                  <a:pt x="476" y="2078"/>
                </a:cubicBezTo>
                <a:cubicBezTo>
                  <a:pt x="458" y="2078"/>
                  <a:pt x="439" y="2078"/>
                  <a:pt x="421" y="2079"/>
                </a:cubicBezTo>
                <a:cubicBezTo>
                  <a:pt x="419" y="2079"/>
                  <a:pt x="418" y="2078"/>
                  <a:pt x="416" y="2078"/>
                </a:cubicBezTo>
                <a:cubicBezTo>
                  <a:pt x="414" y="2078"/>
                  <a:pt x="412" y="2078"/>
                  <a:pt x="410" y="2077"/>
                </a:cubicBezTo>
                <a:cubicBezTo>
                  <a:pt x="406" y="2076"/>
                  <a:pt x="404" y="2074"/>
                  <a:pt x="402" y="2072"/>
                </a:cubicBezTo>
                <a:cubicBezTo>
                  <a:pt x="401" y="2070"/>
                  <a:pt x="400" y="2068"/>
                  <a:pt x="400" y="2066"/>
                </a:cubicBezTo>
                <a:cubicBezTo>
                  <a:pt x="400" y="2064"/>
                  <a:pt x="401" y="2062"/>
                  <a:pt x="402" y="2060"/>
                </a:cubicBezTo>
                <a:cubicBezTo>
                  <a:pt x="402" y="2059"/>
                  <a:pt x="402" y="2059"/>
                  <a:pt x="403" y="2059"/>
                </a:cubicBezTo>
                <a:cubicBezTo>
                  <a:pt x="403" y="2058"/>
                  <a:pt x="403" y="2058"/>
                  <a:pt x="403" y="2058"/>
                </a:cubicBezTo>
                <a:cubicBezTo>
                  <a:pt x="404" y="2057"/>
                  <a:pt x="404" y="2057"/>
                  <a:pt x="404" y="2057"/>
                </a:cubicBezTo>
                <a:cubicBezTo>
                  <a:pt x="404" y="2057"/>
                  <a:pt x="404" y="2057"/>
                  <a:pt x="404" y="2057"/>
                </a:cubicBezTo>
                <a:cubicBezTo>
                  <a:pt x="409" y="2050"/>
                  <a:pt x="413" y="2043"/>
                  <a:pt x="418" y="2035"/>
                </a:cubicBezTo>
                <a:cubicBezTo>
                  <a:pt x="422" y="2030"/>
                  <a:pt x="425" y="2024"/>
                  <a:pt x="430" y="2019"/>
                </a:cubicBezTo>
                <a:cubicBezTo>
                  <a:pt x="430" y="2018"/>
                  <a:pt x="431" y="2018"/>
                  <a:pt x="431" y="2017"/>
                </a:cubicBezTo>
                <a:cubicBezTo>
                  <a:pt x="431" y="2017"/>
                  <a:pt x="432" y="2017"/>
                  <a:pt x="432" y="2017"/>
                </a:cubicBezTo>
                <a:cubicBezTo>
                  <a:pt x="433" y="2016"/>
                  <a:pt x="434" y="2015"/>
                  <a:pt x="435" y="2014"/>
                </a:cubicBezTo>
                <a:cubicBezTo>
                  <a:pt x="435" y="2014"/>
                  <a:pt x="435" y="2014"/>
                  <a:pt x="435" y="2014"/>
                </a:cubicBezTo>
                <a:cubicBezTo>
                  <a:pt x="435" y="2014"/>
                  <a:pt x="435" y="2014"/>
                  <a:pt x="435" y="2014"/>
                </a:cubicBezTo>
                <a:cubicBezTo>
                  <a:pt x="441" y="2009"/>
                  <a:pt x="449" y="2006"/>
                  <a:pt x="457" y="2004"/>
                </a:cubicBezTo>
                <a:cubicBezTo>
                  <a:pt x="457" y="2004"/>
                  <a:pt x="457" y="2004"/>
                  <a:pt x="457" y="2004"/>
                </a:cubicBezTo>
                <a:cubicBezTo>
                  <a:pt x="457" y="2004"/>
                  <a:pt x="458" y="2004"/>
                  <a:pt x="458" y="2004"/>
                </a:cubicBezTo>
                <a:cubicBezTo>
                  <a:pt x="459" y="2004"/>
                  <a:pt x="461" y="2004"/>
                  <a:pt x="462" y="2004"/>
                </a:cubicBezTo>
                <a:cubicBezTo>
                  <a:pt x="463" y="2003"/>
                  <a:pt x="464" y="2003"/>
                  <a:pt x="465" y="2003"/>
                </a:cubicBezTo>
                <a:cubicBezTo>
                  <a:pt x="466" y="2003"/>
                  <a:pt x="467" y="2003"/>
                  <a:pt x="468" y="2003"/>
                </a:cubicBezTo>
                <a:cubicBezTo>
                  <a:pt x="468" y="2003"/>
                  <a:pt x="469" y="2003"/>
                  <a:pt x="470" y="2003"/>
                </a:cubicBezTo>
                <a:cubicBezTo>
                  <a:pt x="471" y="2003"/>
                  <a:pt x="471" y="2003"/>
                  <a:pt x="471" y="2003"/>
                </a:cubicBezTo>
                <a:cubicBezTo>
                  <a:pt x="471" y="2003"/>
                  <a:pt x="471" y="2003"/>
                  <a:pt x="471" y="2003"/>
                </a:cubicBezTo>
                <a:cubicBezTo>
                  <a:pt x="488" y="2003"/>
                  <a:pt x="504" y="2003"/>
                  <a:pt x="521" y="2003"/>
                </a:cubicBezTo>
                <a:cubicBezTo>
                  <a:pt x="521" y="2003"/>
                  <a:pt x="521" y="2003"/>
                  <a:pt x="521" y="2003"/>
                </a:cubicBezTo>
                <a:cubicBezTo>
                  <a:pt x="524" y="2003"/>
                  <a:pt x="524" y="2003"/>
                  <a:pt x="524" y="2003"/>
                </a:cubicBezTo>
                <a:cubicBezTo>
                  <a:pt x="528" y="2003"/>
                  <a:pt x="532" y="2003"/>
                  <a:pt x="535" y="2004"/>
                </a:cubicBezTo>
                <a:cubicBezTo>
                  <a:pt x="536" y="2004"/>
                  <a:pt x="536" y="2005"/>
                  <a:pt x="537" y="2005"/>
                </a:cubicBezTo>
                <a:cubicBezTo>
                  <a:pt x="537" y="2005"/>
                  <a:pt x="538" y="2005"/>
                  <a:pt x="538" y="2006"/>
                </a:cubicBezTo>
                <a:cubicBezTo>
                  <a:pt x="538" y="2006"/>
                  <a:pt x="539" y="2006"/>
                  <a:pt x="539" y="2006"/>
                </a:cubicBezTo>
                <a:cubicBezTo>
                  <a:pt x="543" y="2008"/>
                  <a:pt x="546" y="2012"/>
                  <a:pt x="545" y="2017"/>
                </a:cubicBezTo>
                <a:close/>
                <a:moveTo>
                  <a:pt x="579" y="1956"/>
                </a:moveTo>
                <a:cubicBezTo>
                  <a:pt x="579" y="1956"/>
                  <a:pt x="579" y="1956"/>
                  <a:pt x="579" y="1956"/>
                </a:cubicBezTo>
                <a:cubicBezTo>
                  <a:pt x="579" y="1956"/>
                  <a:pt x="579" y="1956"/>
                  <a:pt x="579" y="1956"/>
                </a:cubicBezTo>
                <a:cubicBezTo>
                  <a:pt x="578" y="1957"/>
                  <a:pt x="578" y="1958"/>
                  <a:pt x="577" y="1959"/>
                </a:cubicBezTo>
                <a:cubicBezTo>
                  <a:pt x="577" y="1959"/>
                  <a:pt x="577" y="1960"/>
                  <a:pt x="577" y="1960"/>
                </a:cubicBezTo>
                <a:cubicBezTo>
                  <a:pt x="572" y="1964"/>
                  <a:pt x="566" y="1968"/>
                  <a:pt x="560" y="1970"/>
                </a:cubicBezTo>
                <a:cubicBezTo>
                  <a:pt x="560" y="1970"/>
                  <a:pt x="560" y="1970"/>
                  <a:pt x="560" y="1970"/>
                </a:cubicBezTo>
                <a:cubicBezTo>
                  <a:pt x="559" y="1970"/>
                  <a:pt x="558" y="1970"/>
                  <a:pt x="557" y="1971"/>
                </a:cubicBezTo>
                <a:cubicBezTo>
                  <a:pt x="556" y="1971"/>
                  <a:pt x="556" y="1971"/>
                  <a:pt x="555" y="1971"/>
                </a:cubicBezTo>
                <a:cubicBezTo>
                  <a:pt x="554" y="1971"/>
                  <a:pt x="554" y="1971"/>
                  <a:pt x="553" y="1971"/>
                </a:cubicBezTo>
                <a:cubicBezTo>
                  <a:pt x="550" y="1972"/>
                  <a:pt x="546" y="1973"/>
                  <a:pt x="542" y="1973"/>
                </a:cubicBezTo>
                <a:cubicBezTo>
                  <a:pt x="541" y="1973"/>
                  <a:pt x="541" y="1973"/>
                  <a:pt x="541" y="1973"/>
                </a:cubicBezTo>
                <a:cubicBezTo>
                  <a:pt x="534" y="1973"/>
                  <a:pt x="527" y="1973"/>
                  <a:pt x="520" y="1973"/>
                </a:cubicBezTo>
                <a:cubicBezTo>
                  <a:pt x="510" y="1973"/>
                  <a:pt x="499" y="1973"/>
                  <a:pt x="489" y="1973"/>
                </a:cubicBezTo>
                <a:cubicBezTo>
                  <a:pt x="488" y="1973"/>
                  <a:pt x="486" y="1973"/>
                  <a:pt x="484" y="1973"/>
                </a:cubicBezTo>
                <a:cubicBezTo>
                  <a:pt x="484" y="1973"/>
                  <a:pt x="484" y="1973"/>
                  <a:pt x="483" y="1973"/>
                </a:cubicBezTo>
                <a:cubicBezTo>
                  <a:pt x="482" y="1972"/>
                  <a:pt x="480" y="1972"/>
                  <a:pt x="479" y="1972"/>
                </a:cubicBezTo>
                <a:cubicBezTo>
                  <a:pt x="479" y="1972"/>
                  <a:pt x="479" y="1972"/>
                  <a:pt x="479" y="1972"/>
                </a:cubicBezTo>
                <a:cubicBezTo>
                  <a:pt x="479" y="1972"/>
                  <a:pt x="479" y="1972"/>
                  <a:pt x="479" y="1972"/>
                </a:cubicBezTo>
                <a:cubicBezTo>
                  <a:pt x="474" y="1970"/>
                  <a:pt x="470" y="1968"/>
                  <a:pt x="470" y="1963"/>
                </a:cubicBezTo>
                <a:cubicBezTo>
                  <a:pt x="470" y="1962"/>
                  <a:pt x="470" y="1961"/>
                  <a:pt x="470" y="1960"/>
                </a:cubicBezTo>
                <a:cubicBezTo>
                  <a:pt x="470" y="1960"/>
                  <a:pt x="470" y="1959"/>
                  <a:pt x="471" y="1959"/>
                </a:cubicBezTo>
                <a:cubicBezTo>
                  <a:pt x="471" y="1958"/>
                  <a:pt x="471" y="1957"/>
                  <a:pt x="472" y="1957"/>
                </a:cubicBezTo>
                <a:cubicBezTo>
                  <a:pt x="472" y="1957"/>
                  <a:pt x="472" y="1956"/>
                  <a:pt x="472" y="1956"/>
                </a:cubicBezTo>
                <a:cubicBezTo>
                  <a:pt x="472" y="1956"/>
                  <a:pt x="472" y="1956"/>
                  <a:pt x="472" y="1956"/>
                </a:cubicBezTo>
                <a:cubicBezTo>
                  <a:pt x="473" y="1955"/>
                  <a:pt x="474" y="1954"/>
                  <a:pt x="474" y="1953"/>
                </a:cubicBezTo>
                <a:cubicBezTo>
                  <a:pt x="479" y="1945"/>
                  <a:pt x="485" y="1938"/>
                  <a:pt x="490" y="1930"/>
                </a:cubicBezTo>
                <a:cubicBezTo>
                  <a:pt x="490" y="1930"/>
                  <a:pt x="490" y="1930"/>
                  <a:pt x="490" y="1930"/>
                </a:cubicBezTo>
                <a:cubicBezTo>
                  <a:pt x="492" y="1927"/>
                  <a:pt x="492" y="1927"/>
                  <a:pt x="492" y="1927"/>
                </a:cubicBezTo>
                <a:cubicBezTo>
                  <a:pt x="493" y="1925"/>
                  <a:pt x="495" y="1923"/>
                  <a:pt x="498" y="1921"/>
                </a:cubicBezTo>
                <a:cubicBezTo>
                  <a:pt x="499" y="1920"/>
                  <a:pt x="501" y="1919"/>
                  <a:pt x="503" y="1918"/>
                </a:cubicBezTo>
                <a:cubicBezTo>
                  <a:pt x="504" y="1918"/>
                  <a:pt x="505" y="1917"/>
                  <a:pt x="506" y="1917"/>
                </a:cubicBezTo>
                <a:cubicBezTo>
                  <a:pt x="506" y="1917"/>
                  <a:pt x="506" y="1917"/>
                  <a:pt x="507" y="1917"/>
                </a:cubicBezTo>
                <a:cubicBezTo>
                  <a:pt x="507" y="1917"/>
                  <a:pt x="507" y="1916"/>
                  <a:pt x="507" y="1916"/>
                </a:cubicBezTo>
                <a:cubicBezTo>
                  <a:pt x="508" y="1916"/>
                  <a:pt x="508" y="1916"/>
                  <a:pt x="508" y="1916"/>
                </a:cubicBezTo>
                <a:cubicBezTo>
                  <a:pt x="511" y="1915"/>
                  <a:pt x="514" y="1914"/>
                  <a:pt x="517" y="1913"/>
                </a:cubicBezTo>
                <a:cubicBezTo>
                  <a:pt x="521" y="1913"/>
                  <a:pt x="525" y="1912"/>
                  <a:pt x="528" y="1912"/>
                </a:cubicBezTo>
                <a:cubicBezTo>
                  <a:pt x="538" y="1912"/>
                  <a:pt x="538" y="1912"/>
                  <a:pt x="538" y="1912"/>
                </a:cubicBezTo>
                <a:cubicBezTo>
                  <a:pt x="541" y="1912"/>
                  <a:pt x="543" y="1912"/>
                  <a:pt x="545" y="1912"/>
                </a:cubicBezTo>
                <a:cubicBezTo>
                  <a:pt x="555" y="1912"/>
                  <a:pt x="564" y="1912"/>
                  <a:pt x="573" y="1912"/>
                </a:cubicBezTo>
                <a:cubicBezTo>
                  <a:pt x="573" y="1912"/>
                  <a:pt x="573" y="1912"/>
                  <a:pt x="573" y="1912"/>
                </a:cubicBezTo>
                <a:cubicBezTo>
                  <a:pt x="577" y="1912"/>
                  <a:pt x="577" y="1912"/>
                  <a:pt x="577" y="1912"/>
                </a:cubicBezTo>
                <a:cubicBezTo>
                  <a:pt x="581" y="1912"/>
                  <a:pt x="584" y="1913"/>
                  <a:pt x="587" y="1913"/>
                </a:cubicBezTo>
                <a:cubicBezTo>
                  <a:pt x="589" y="1914"/>
                  <a:pt x="590" y="1915"/>
                  <a:pt x="592" y="1915"/>
                </a:cubicBezTo>
                <a:cubicBezTo>
                  <a:pt x="596" y="1918"/>
                  <a:pt x="599" y="1921"/>
                  <a:pt x="595" y="1927"/>
                </a:cubicBezTo>
                <a:cubicBezTo>
                  <a:pt x="592" y="1934"/>
                  <a:pt x="588" y="1941"/>
                  <a:pt x="584" y="1948"/>
                </a:cubicBezTo>
                <a:cubicBezTo>
                  <a:pt x="579" y="1956"/>
                  <a:pt x="579" y="1956"/>
                  <a:pt x="579" y="1956"/>
                </a:cubicBezTo>
                <a:cubicBezTo>
                  <a:pt x="579" y="1956"/>
                  <a:pt x="579" y="1956"/>
                  <a:pt x="579" y="1956"/>
                </a:cubicBezTo>
                <a:close/>
                <a:moveTo>
                  <a:pt x="1064" y="2056"/>
                </a:moveTo>
                <a:cubicBezTo>
                  <a:pt x="1064" y="2057"/>
                  <a:pt x="1064" y="2059"/>
                  <a:pt x="1064" y="2060"/>
                </a:cubicBezTo>
                <a:cubicBezTo>
                  <a:pt x="1064" y="2060"/>
                  <a:pt x="1064" y="2060"/>
                  <a:pt x="1064" y="2061"/>
                </a:cubicBezTo>
                <a:cubicBezTo>
                  <a:pt x="1063" y="2062"/>
                  <a:pt x="1063" y="2063"/>
                  <a:pt x="1062" y="2064"/>
                </a:cubicBezTo>
                <a:cubicBezTo>
                  <a:pt x="1062" y="2064"/>
                  <a:pt x="1062" y="2064"/>
                  <a:pt x="1062" y="2064"/>
                </a:cubicBezTo>
                <a:cubicBezTo>
                  <a:pt x="1062" y="2064"/>
                  <a:pt x="1062" y="2064"/>
                  <a:pt x="1062" y="2064"/>
                </a:cubicBezTo>
                <a:cubicBezTo>
                  <a:pt x="1061" y="2065"/>
                  <a:pt x="1060" y="2066"/>
                  <a:pt x="1059" y="2067"/>
                </a:cubicBezTo>
                <a:cubicBezTo>
                  <a:pt x="1059" y="2067"/>
                  <a:pt x="1059" y="2067"/>
                  <a:pt x="1059" y="2068"/>
                </a:cubicBezTo>
                <a:cubicBezTo>
                  <a:pt x="1058" y="2069"/>
                  <a:pt x="1057" y="2069"/>
                  <a:pt x="1056" y="2070"/>
                </a:cubicBezTo>
                <a:cubicBezTo>
                  <a:pt x="1056" y="2070"/>
                  <a:pt x="1055" y="2071"/>
                  <a:pt x="1055" y="2071"/>
                </a:cubicBezTo>
                <a:cubicBezTo>
                  <a:pt x="1055" y="2071"/>
                  <a:pt x="1055" y="2071"/>
                  <a:pt x="1055" y="2071"/>
                </a:cubicBezTo>
                <a:cubicBezTo>
                  <a:pt x="1053" y="2072"/>
                  <a:pt x="1052" y="2072"/>
                  <a:pt x="1051" y="2073"/>
                </a:cubicBezTo>
                <a:cubicBezTo>
                  <a:pt x="1051" y="2073"/>
                  <a:pt x="1051" y="2073"/>
                  <a:pt x="1050" y="2073"/>
                </a:cubicBezTo>
                <a:cubicBezTo>
                  <a:pt x="1049" y="2074"/>
                  <a:pt x="1048" y="2074"/>
                  <a:pt x="1047" y="2074"/>
                </a:cubicBezTo>
                <a:cubicBezTo>
                  <a:pt x="1047" y="2075"/>
                  <a:pt x="1046" y="2075"/>
                  <a:pt x="1046" y="2075"/>
                </a:cubicBezTo>
                <a:cubicBezTo>
                  <a:pt x="1046" y="2075"/>
                  <a:pt x="1045" y="2075"/>
                  <a:pt x="1045" y="2075"/>
                </a:cubicBezTo>
                <a:cubicBezTo>
                  <a:pt x="1045" y="2075"/>
                  <a:pt x="1045" y="2075"/>
                  <a:pt x="1044" y="2075"/>
                </a:cubicBezTo>
                <a:cubicBezTo>
                  <a:pt x="1043" y="2076"/>
                  <a:pt x="1042" y="2076"/>
                  <a:pt x="1041" y="2076"/>
                </a:cubicBezTo>
                <a:cubicBezTo>
                  <a:pt x="1039" y="2076"/>
                  <a:pt x="1038" y="2076"/>
                  <a:pt x="1037" y="2077"/>
                </a:cubicBezTo>
                <a:cubicBezTo>
                  <a:pt x="1036" y="2077"/>
                  <a:pt x="1035" y="2077"/>
                  <a:pt x="1034" y="2077"/>
                </a:cubicBezTo>
                <a:cubicBezTo>
                  <a:pt x="1033" y="2077"/>
                  <a:pt x="1033" y="2077"/>
                  <a:pt x="1033" y="2077"/>
                </a:cubicBezTo>
                <a:cubicBezTo>
                  <a:pt x="1031" y="2077"/>
                  <a:pt x="1031" y="2077"/>
                  <a:pt x="1031" y="2077"/>
                </a:cubicBezTo>
                <a:cubicBezTo>
                  <a:pt x="1031" y="2077"/>
                  <a:pt x="1031" y="2077"/>
                  <a:pt x="1031" y="2077"/>
                </a:cubicBezTo>
                <a:cubicBezTo>
                  <a:pt x="1025" y="2077"/>
                  <a:pt x="1018" y="2077"/>
                  <a:pt x="1011" y="2077"/>
                </a:cubicBezTo>
                <a:cubicBezTo>
                  <a:pt x="981" y="2077"/>
                  <a:pt x="630" y="2078"/>
                  <a:pt x="605" y="2078"/>
                </a:cubicBezTo>
                <a:cubicBezTo>
                  <a:pt x="604" y="2078"/>
                  <a:pt x="602" y="2078"/>
                  <a:pt x="600" y="2078"/>
                </a:cubicBezTo>
                <a:cubicBezTo>
                  <a:pt x="598" y="2077"/>
                  <a:pt x="596" y="2077"/>
                  <a:pt x="594" y="2076"/>
                </a:cubicBezTo>
                <a:cubicBezTo>
                  <a:pt x="590" y="2075"/>
                  <a:pt x="588" y="2074"/>
                  <a:pt x="586" y="2072"/>
                </a:cubicBezTo>
                <a:cubicBezTo>
                  <a:pt x="584" y="2070"/>
                  <a:pt x="583" y="2068"/>
                  <a:pt x="582" y="2065"/>
                </a:cubicBezTo>
                <a:cubicBezTo>
                  <a:pt x="582" y="2063"/>
                  <a:pt x="582" y="2060"/>
                  <a:pt x="584" y="2057"/>
                </a:cubicBezTo>
                <a:cubicBezTo>
                  <a:pt x="584" y="2056"/>
                  <a:pt x="584" y="2056"/>
                  <a:pt x="584" y="2056"/>
                </a:cubicBezTo>
                <a:cubicBezTo>
                  <a:pt x="584" y="2056"/>
                  <a:pt x="584" y="2056"/>
                  <a:pt x="584" y="2056"/>
                </a:cubicBezTo>
                <a:cubicBezTo>
                  <a:pt x="588" y="2048"/>
                  <a:pt x="592" y="2040"/>
                  <a:pt x="596" y="2031"/>
                </a:cubicBezTo>
                <a:cubicBezTo>
                  <a:pt x="597" y="2030"/>
                  <a:pt x="598" y="2029"/>
                  <a:pt x="598" y="2027"/>
                </a:cubicBezTo>
                <a:cubicBezTo>
                  <a:pt x="601" y="2021"/>
                  <a:pt x="601" y="2021"/>
                  <a:pt x="601" y="2021"/>
                </a:cubicBezTo>
                <a:cubicBezTo>
                  <a:pt x="603" y="2018"/>
                  <a:pt x="605" y="2016"/>
                  <a:pt x="607" y="2014"/>
                </a:cubicBezTo>
                <a:cubicBezTo>
                  <a:pt x="608" y="2013"/>
                  <a:pt x="609" y="2013"/>
                  <a:pt x="609" y="2012"/>
                </a:cubicBezTo>
                <a:cubicBezTo>
                  <a:pt x="610" y="2012"/>
                  <a:pt x="610" y="2012"/>
                  <a:pt x="610" y="2011"/>
                </a:cubicBezTo>
                <a:cubicBezTo>
                  <a:pt x="611" y="2011"/>
                  <a:pt x="612" y="2011"/>
                  <a:pt x="612" y="2010"/>
                </a:cubicBezTo>
                <a:cubicBezTo>
                  <a:pt x="612" y="2010"/>
                  <a:pt x="612" y="2010"/>
                  <a:pt x="613" y="2010"/>
                </a:cubicBezTo>
                <a:cubicBezTo>
                  <a:pt x="613" y="2010"/>
                  <a:pt x="613" y="2010"/>
                  <a:pt x="614" y="2009"/>
                </a:cubicBezTo>
                <a:cubicBezTo>
                  <a:pt x="615" y="2009"/>
                  <a:pt x="616" y="2008"/>
                  <a:pt x="617" y="2008"/>
                </a:cubicBezTo>
                <a:cubicBezTo>
                  <a:pt x="617" y="2008"/>
                  <a:pt x="618" y="2007"/>
                  <a:pt x="618" y="2007"/>
                </a:cubicBezTo>
                <a:cubicBezTo>
                  <a:pt x="619" y="2007"/>
                  <a:pt x="620" y="2007"/>
                  <a:pt x="621" y="2006"/>
                </a:cubicBezTo>
                <a:cubicBezTo>
                  <a:pt x="622" y="2006"/>
                  <a:pt x="623" y="2005"/>
                  <a:pt x="625" y="2005"/>
                </a:cubicBezTo>
                <a:cubicBezTo>
                  <a:pt x="625" y="2005"/>
                  <a:pt x="626" y="2004"/>
                  <a:pt x="627" y="2004"/>
                </a:cubicBezTo>
                <a:cubicBezTo>
                  <a:pt x="627" y="2004"/>
                  <a:pt x="628" y="2004"/>
                  <a:pt x="628" y="2004"/>
                </a:cubicBezTo>
                <a:cubicBezTo>
                  <a:pt x="632" y="2003"/>
                  <a:pt x="636" y="2002"/>
                  <a:pt x="640" y="2002"/>
                </a:cubicBezTo>
                <a:cubicBezTo>
                  <a:pt x="640" y="2002"/>
                  <a:pt x="1008" y="2001"/>
                  <a:pt x="1021" y="2001"/>
                </a:cubicBezTo>
                <a:cubicBezTo>
                  <a:pt x="1026" y="2001"/>
                  <a:pt x="1030" y="2001"/>
                  <a:pt x="1034" y="2001"/>
                </a:cubicBezTo>
                <a:cubicBezTo>
                  <a:pt x="1036" y="2001"/>
                  <a:pt x="1038" y="2002"/>
                  <a:pt x="1040" y="2002"/>
                </a:cubicBezTo>
                <a:cubicBezTo>
                  <a:pt x="1040" y="2002"/>
                  <a:pt x="1040" y="2002"/>
                  <a:pt x="1041" y="2002"/>
                </a:cubicBezTo>
                <a:cubicBezTo>
                  <a:pt x="1042" y="2002"/>
                  <a:pt x="1044" y="2002"/>
                  <a:pt x="1045" y="2003"/>
                </a:cubicBezTo>
                <a:cubicBezTo>
                  <a:pt x="1045" y="2003"/>
                  <a:pt x="1046" y="2003"/>
                  <a:pt x="1046" y="2003"/>
                </a:cubicBezTo>
                <a:cubicBezTo>
                  <a:pt x="1046" y="2003"/>
                  <a:pt x="1046" y="2003"/>
                  <a:pt x="1046" y="2003"/>
                </a:cubicBezTo>
                <a:cubicBezTo>
                  <a:pt x="1048" y="2003"/>
                  <a:pt x="1049" y="2004"/>
                  <a:pt x="1050" y="2004"/>
                </a:cubicBezTo>
                <a:cubicBezTo>
                  <a:pt x="1050" y="2004"/>
                  <a:pt x="1051" y="2005"/>
                  <a:pt x="1051" y="2005"/>
                </a:cubicBezTo>
                <a:cubicBezTo>
                  <a:pt x="1052" y="2005"/>
                  <a:pt x="1053" y="2006"/>
                  <a:pt x="1054" y="2006"/>
                </a:cubicBezTo>
                <a:cubicBezTo>
                  <a:pt x="1055" y="2006"/>
                  <a:pt x="1055" y="2007"/>
                  <a:pt x="1055" y="2007"/>
                </a:cubicBezTo>
                <a:cubicBezTo>
                  <a:pt x="1055" y="2007"/>
                  <a:pt x="1055" y="2007"/>
                  <a:pt x="1056" y="2007"/>
                </a:cubicBezTo>
                <a:cubicBezTo>
                  <a:pt x="1056" y="2008"/>
                  <a:pt x="1057" y="2008"/>
                  <a:pt x="1058" y="2009"/>
                </a:cubicBezTo>
                <a:cubicBezTo>
                  <a:pt x="1059" y="2010"/>
                  <a:pt x="1061" y="2011"/>
                  <a:pt x="1061" y="2013"/>
                </a:cubicBezTo>
                <a:cubicBezTo>
                  <a:pt x="1063" y="2015"/>
                  <a:pt x="1064" y="2017"/>
                  <a:pt x="1064" y="2020"/>
                </a:cubicBezTo>
                <a:cubicBezTo>
                  <a:pt x="1064" y="2022"/>
                  <a:pt x="1064" y="2022"/>
                  <a:pt x="1064" y="2022"/>
                </a:cubicBezTo>
                <a:cubicBezTo>
                  <a:pt x="1064" y="2022"/>
                  <a:pt x="1064" y="2022"/>
                  <a:pt x="1064" y="2022"/>
                </a:cubicBezTo>
                <a:cubicBezTo>
                  <a:pt x="1064" y="2031"/>
                  <a:pt x="1064" y="2040"/>
                  <a:pt x="1064" y="2049"/>
                </a:cubicBezTo>
                <a:cubicBezTo>
                  <a:pt x="1064" y="2051"/>
                  <a:pt x="1064" y="2054"/>
                  <a:pt x="1064" y="2056"/>
                </a:cubicBezTo>
                <a:close/>
                <a:moveTo>
                  <a:pt x="1114" y="1878"/>
                </a:moveTo>
                <a:cubicBezTo>
                  <a:pt x="1114" y="1878"/>
                  <a:pt x="1114" y="1877"/>
                  <a:pt x="1113" y="1877"/>
                </a:cubicBezTo>
                <a:cubicBezTo>
                  <a:pt x="1113" y="1877"/>
                  <a:pt x="1113" y="1877"/>
                  <a:pt x="1113" y="1877"/>
                </a:cubicBezTo>
                <a:cubicBezTo>
                  <a:pt x="1112" y="1875"/>
                  <a:pt x="1111" y="1873"/>
                  <a:pt x="1111" y="1871"/>
                </a:cubicBezTo>
                <a:cubicBezTo>
                  <a:pt x="1111" y="1870"/>
                  <a:pt x="1111" y="1870"/>
                  <a:pt x="1111" y="1870"/>
                </a:cubicBezTo>
                <a:cubicBezTo>
                  <a:pt x="1110" y="1868"/>
                  <a:pt x="1110" y="1867"/>
                  <a:pt x="1110" y="1866"/>
                </a:cubicBezTo>
                <a:cubicBezTo>
                  <a:pt x="1110" y="1866"/>
                  <a:pt x="1110" y="1866"/>
                  <a:pt x="1110" y="1866"/>
                </a:cubicBezTo>
                <a:cubicBezTo>
                  <a:pt x="1110" y="1861"/>
                  <a:pt x="1109" y="1855"/>
                  <a:pt x="1109" y="1849"/>
                </a:cubicBezTo>
                <a:cubicBezTo>
                  <a:pt x="1109" y="1848"/>
                  <a:pt x="1109" y="1848"/>
                  <a:pt x="1109" y="1848"/>
                </a:cubicBezTo>
                <a:cubicBezTo>
                  <a:pt x="1109" y="1846"/>
                  <a:pt x="1109" y="1844"/>
                  <a:pt x="1110" y="1843"/>
                </a:cubicBezTo>
                <a:cubicBezTo>
                  <a:pt x="1112" y="1841"/>
                  <a:pt x="1113" y="1840"/>
                  <a:pt x="1115" y="1839"/>
                </a:cubicBezTo>
                <a:cubicBezTo>
                  <a:pt x="1118" y="1838"/>
                  <a:pt x="1120" y="1837"/>
                  <a:pt x="1123" y="1836"/>
                </a:cubicBezTo>
                <a:cubicBezTo>
                  <a:pt x="1123" y="1836"/>
                  <a:pt x="1123" y="1836"/>
                  <a:pt x="1123" y="1836"/>
                </a:cubicBezTo>
                <a:cubicBezTo>
                  <a:pt x="1123" y="1836"/>
                  <a:pt x="1123" y="1836"/>
                  <a:pt x="1123" y="1836"/>
                </a:cubicBezTo>
                <a:cubicBezTo>
                  <a:pt x="1124" y="1836"/>
                  <a:pt x="1125" y="1836"/>
                  <a:pt x="1126" y="1836"/>
                </a:cubicBezTo>
                <a:cubicBezTo>
                  <a:pt x="1127" y="1836"/>
                  <a:pt x="1127" y="1836"/>
                  <a:pt x="1128" y="1836"/>
                </a:cubicBezTo>
                <a:cubicBezTo>
                  <a:pt x="1133" y="1835"/>
                  <a:pt x="1138" y="1835"/>
                  <a:pt x="1143" y="1835"/>
                </a:cubicBezTo>
                <a:cubicBezTo>
                  <a:pt x="1176" y="1835"/>
                  <a:pt x="1176" y="1835"/>
                  <a:pt x="1176" y="1835"/>
                </a:cubicBezTo>
                <a:cubicBezTo>
                  <a:pt x="1178" y="1835"/>
                  <a:pt x="1180" y="1835"/>
                  <a:pt x="1182" y="1836"/>
                </a:cubicBezTo>
                <a:cubicBezTo>
                  <a:pt x="1191" y="1837"/>
                  <a:pt x="1201" y="1839"/>
                  <a:pt x="1203" y="1848"/>
                </a:cubicBezTo>
                <a:cubicBezTo>
                  <a:pt x="1205" y="1855"/>
                  <a:pt x="1206" y="1863"/>
                  <a:pt x="1207" y="1870"/>
                </a:cubicBezTo>
                <a:cubicBezTo>
                  <a:pt x="1207" y="1871"/>
                  <a:pt x="1207" y="1871"/>
                  <a:pt x="1207" y="1871"/>
                </a:cubicBezTo>
                <a:cubicBezTo>
                  <a:pt x="1208" y="1873"/>
                  <a:pt x="1207" y="1874"/>
                  <a:pt x="1207" y="1876"/>
                </a:cubicBezTo>
                <a:cubicBezTo>
                  <a:pt x="1207" y="1876"/>
                  <a:pt x="1207" y="1876"/>
                  <a:pt x="1206" y="1876"/>
                </a:cubicBezTo>
                <a:cubicBezTo>
                  <a:pt x="1206" y="1876"/>
                  <a:pt x="1206" y="1876"/>
                  <a:pt x="1206" y="1876"/>
                </a:cubicBezTo>
                <a:cubicBezTo>
                  <a:pt x="1206" y="1877"/>
                  <a:pt x="1206" y="1877"/>
                  <a:pt x="1206" y="1877"/>
                </a:cubicBezTo>
                <a:cubicBezTo>
                  <a:pt x="1204" y="1880"/>
                  <a:pt x="1200" y="1882"/>
                  <a:pt x="1195" y="1883"/>
                </a:cubicBezTo>
                <a:cubicBezTo>
                  <a:pt x="1195" y="1883"/>
                  <a:pt x="1195" y="1884"/>
                  <a:pt x="1194" y="1884"/>
                </a:cubicBezTo>
                <a:cubicBezTo>
                  <a:pt x="1194" y="1884"/>
                  <a:pt x="1193" y="1884"/>
                  <a:pt x="1193" y="1884"/>
                </a:cubicBezTo>
                <a:cubicBezTo>
                  <a:pt x="1192" y="1884"/>
                  <a:pt x="1192" y="1884"/>
                  <a:pt x="1192" y="1884"/>
                </a:cubicBezTo>
                <a:cubicBezTo>
                  <a:pt x="1191" y="1884"/>
                  <a:pt x="1190" y="1884"/>
                  <a:pt x="1189" y="1885"/>
                </a:cubicBezTo>
                <a:cubicBezTo>
                  <a:pt x="1178" y="1886"/>
                  <a:pt x="1164" y="1885"/>
                  <a:pt x="1158" y="1885"/>
                </a:cubicBezTo>
                <a:cubicBezTo>
                  <a:pt x="1137" y="1885"/>
                  <a:pt x="1137" y="1885"/>
                  <a:pt x="1137" y="1885"/>
                </a:cubicBezTo>
                <a:cubicBezTo>
                  <a:pt x="1135" y="1885"/>
                  <a:pt x="1134" y="1885"/>
                  <a:pt x="1132" y="1885"/>
                </a:cubicBezTo>
                <a:cubicBezTo>
                  <a:pt x="1131" y="1884"/>
                  <a:pt x="1130" y="1884"/>
                  <a:pt x="1128" y="1884"/>
                </a:cubicBezTo>
                <a:cubicBezTo>
                  <a:pt x="1128" y="1884"/>
                  <a:pt x="1128" y="1884"/>
                  <a:pt x="1127" y="1884"/>
                </a:cubicBezTo>
                <a:cubicBezTo>
                  <a:pt x="1127" y="1884"/>
                  <a:pt x="1127" y="1884"/>
                  <a:pt x="1127" y="1884"/>
                </a:cubicBezTo>
                <a:cubicBezTo>
                  <a:pt x="1126" y="1883"/>
                  <a:pt x="1125" y="1883"/>
                  <a:pt x="1123" y="1883"/>
                </a:cubicBezTo>
                <a:cubicBezTo>
                  <a:pt x="1123" y="1883"/>
                  <a:pt x="1122" y="1882"/>
                  <a:pt x="1122" y="1882"/>
                </a:cubicBezTo>
                <a:cubicBezTo>
                  <a:pt x="1121" y="1882"/>
                  <a:pt x="1120" y="1881"/>
                  <a:pt x="1119" y="1881"/>
                </a:cubicBezTo>
                <a:cubicBezTo>
                  <a:pt x="1117" y="1880"/>
                  <a:pt x="1116" y="1879"/>
                  <a:pt x="1115" y="1878"/>
                </a:cubicBezTo>
                <a:cubicBezTo>
                  <a:pt x="1115" y="1878"/>
                  <a:pt x="1114" y="1878"/>
                  <a:pt x="1114" y="1878"/>
                </a:cubicBezTo>
                <a:close/>
                <a:moveTo>
                  <a:pt x="1120" y="1961"/>
                </a:moveTo>
                <a:cubicBezTo>
                  <a:pt x="1118" y="1959"/>
                  <a:pt x="1117" y="1957"/>
                  <a:pt x="1117" y="1955"/>
                </a:cubicBezTo>
                <a:cubicBezTo>
                  <a:pt x="1117" y="1952"/>
                  <a:pt x="1117" y="1952"/>
                  <a:pt x="1117" y="1952"/>
                </a:cubicBezTo>
                <a:cubicBezTo>
                  <a:pt x="1117" y="1952"/>
                  <a:pt x="1117" y="1952"/>
                  <a:pt x="1117" y="1952"/>
                </a:cubicBezTo>
                <a:cubicBezTo>
                  <a:pt x="1116" y="1943"/>
                  <a:pt x="1116" y="1935"/>
                  <a:pt x="1115" y="1926"/>
                </a:cubicBezTo>
                <a:cubicBezTo>
                  <a:pt x="1115" y="1926"/>
                  <a:pt x="1115" y="1926"/>
                  <a:pt x="1115" y="1926"/>
                </a:cubicBezTo>
                <a:cubicBezTo>
                  <a:pt x="1115" y="1926"/>
                  <a:pt x="1115" y="1926"/>
                  <a:pt x="1115" y="1926"/>
                </a:cubicBezTo>
                <a:cubicBezTo>
                  <a:pt x="1115" y="1925"/>
                  <a:pt x="1115" y="1925"/>
                  <a:pt x="1115" y="1924"/>
                </a:cubicBezTo>
                <a:cubicBezTo>
                  <a:pt x="1117" y="1906"/>
                  <a:pt x="1155" y="1911"/>
                  <a:pt x="1167" y="1911"/>
                </a:cubicBezTo>
                <a:cubicBezTo>
                  <a:pt x="1181" y="1911"/>
                  <a:pt x="1208" y="1907"/>
                  <a:pt x="1216" y="1921"/>
                </a:cubicBezTo>
                <a:cubicBezTo>
                  <a:pt x="1217" y="1923"/>
                  <a:pt x="1218" y="1924"/>
                  <a:pt x="1218" y="1925"/>
                </a:cubicBezTo>
                <a:cubicBezTo>
                  <a:pt x="1219" y="1927"/>
                  <a:pt x="1219" y="1927"/>
                  <a:pt x="1219" y="1927"/>
                </a:cubicBezTo>
                <a:cubicBezTo>
                  <a:pt x="1219" y="1927"/>
                  <a:pt x="1219" y="1927"/>
                  <a:pt x="1219" y="1927"/>
                </a:cubicBezTo>
                <a:cubicBezTo>
                  <a:pt x="1219" y="1931"/>
                  <a:pt x="1220" y="1936"/>
                  <a:pt x="1221" y="1940"/>
                </a:cubicBezTo>
                <a:cubicBezTo>
                  <a:pt x="1224" y="1955"/>
                  <a:pt x="1224" y="1955"/>
                  <a:pt x="1224" y="1955"/>
                </a:cubicBezTo>
                <a:cubicBezTo>
                  <a:pt x="1225" y="1957"/>
                  <a:pt x="1224" y="1959"/>
                  <a:pt x="1223" y="1961"/>
                </a:cubicBezTo>
                <a:cubicBezTo>
                  <a:pt x="1223" y="1962"/>
                  <a:pt x="1222" y="1963"/>
                  <a:pt x="1220" y="1964"/>
                </a:cubicBezTo>
                <a:cubicBezTo>
                  <a:pt x="1220" y="1965"/>
                  <a:pt x="1219" y="1965"/>
                  <a:pt x="1219" y="1966"/>
                </a:cubicBezTo>
                <a:cubicBezTo>
                  <a:pt x="1219" y="1966"/>
                  <a:pt x="1218" y="1966"/>
                  <a:pt x="1218" y="1966"/>
                </a:cubicBezTo>
                <a:cubicBezTo>
                  <a:pt x="1218" y="1966"/>
                  <a:pt x="1218" y="1966"/>
                  <a:pt x="1218" y="1967"/>
                </a:cubicBezTo>
                <a:cubicBezTo>
                  <a:pt x="1217" y="1967"/>
                  <a:pt x="1216" y="1967"/>
                  <a:pt x="1215" y="1968"/>
                </a:cubicBezTo>
                <a:cubicBezTo>
                  <a:pt x="1215" y="1968"/>
                  <a:pt x="1214" y="1968"/>
                  <a:pt x="1213" y="1969"/>
                </a:cubicBezTo>
                <a:cubicBezTo>
                  <a:pt x="1213" y="1969"/>
                  <a:pt x="1212" y="1969"/>
                  <a:pt x="1212" y="1969"/>
                </a:cubicBezTo>
                <a:cubicBezTo>
                  <a:pt x="1211" y="1969"/>
                  <a:pt x="1211" y="1970"/>
                  <a:pt x="1210" y="1970"/>
                </a:cubicBezTo>
                <a:cubicBezTo>
                  <a:pt x="1209" y="1970"/>
                  <a:pt x="1209" y="1970"/>
                  <a:pt x="1208" y="1970"/>
                </a:cubicBezTo>
                <a:cubicBezTo>
                  <a:pt x="1208" y="1970"/>
                  <a:pt x="1207" y="1970"/>
                  <a:pt x="1207" y="1970"/>
                </a:cubicBezTo>
                <a:cubicBezTo>
                  <a:pt x="1206" y="1971"/>
                  <a:pt x="1205" y="1971"/>
                  <a:pt x="1204" y="1971"/>
                </a:cubicBezTo>
                <a:cubicBezTo>
                  <a:pt x="1202" y="1971"/>
                  <a:pt x="1201" y="1971"/>
                  <a:pt x="1199" y="1971"/>
                </a:cubicBezTo>
                <a:cubicBezTo>
                  <a:pt x="1199" y="1971"/>
                  <a:pt x="1199" y="1971"/>
                  <a:pt x="1199" y="1971"/>
                </a:cubicBezTo>
                <a:cubicBezTo>
                  <a:pt x="1199" y="1971"/>
                  <a:pt x="1199" y="1971"/>
                  <a:pt x="1199" y="1971"/>
                </a:cubicBezTo>
                <a:cubicBezTo>
                  <a:pt x="1181" y="1971"/>
                  <a:pt x="1164" y="1971"/>
                  <a:pt x="1147" y="1971"/>
                </a:cubicBezTo>
                <a:cubicBezTo>
                  <a:pt x="1145" y="1971"/>
                  <a:pt x="1143" y="1971"/>
                  <a:pt x="1141" y="1971"/>
                </a:cubicBezTo>
                <a:cubicBezTo>
                  <a:pt x="1141" y="1971"/>
                  <a:pt x="1140" y="1971"/>
                  <a:pt x="1140" y="1971"/>
                </a:cubicBezTo>
                <a:cubicBezTo>
                  <a:pt x="1139" y="1971"/>
                  <a:pt x="1137" y="1970"/>
                  <a:pt x="1136" y="1970"/>
                </a:cubicBezTo>
                <a:cubicBezTo>
                  <a:pt x="1136" y="1970"/>
                  <a:pt x="1136" y="1970"/>
                  <a:pt x="1136" y="1970"/>
                </a:cubicBezTo>
                <a:cubicBezTo>
                  <a:pt x="1135" y="1970"/>
                  <a:pt x="1135" y="1970"/>
                  <a:pt x="1135" y="1970"/>
                </a:cubicBezTo>
                <a:cubicBezTo>
                  <a:pt x="1134" y="1969"/>
                  <a:pt x="1132" y="1969"/>
                  <a:pt x="1131" y="1969"/>
                </a:cubicBezTo>
                <a:cubicBezTo>
                  <a:pt x="1130" y="1968"/>
                  <a:pt x="1130" y="1968"/>
                  <a:pt x="1129" y="1968"/>
                </a:cubicBezTo>
                <a:cubicBezTo>
                  <a:pt x="1128" y="1967"/>
                  <a:pt x="1128" y="1967"/>
                  <a:pt x="1127" y="1967"/>
                </a:cubicBezTo>
                <a:cubicBezTo>
                  <a:pt x="1127" y="1967"/>
                  <a:pt x="1126" y="1967"/>
                  <a:pt x="1126" y="1966"/>
                </a:cubicBezTo>
                <a:cubicBezTo>
                  <a:pt x="1124" y="1965"/>
                  <a:pt x="1121" y="1963"/>
                  <a:pt x="1120" y="1961"/>
                </a:cubicBezTo>
                <a:close/>
                <a:moveTo>
                  <a:pt x="1244" y="2063"/>
                </a:moveTo>
                <a:cubicBezTo>
                  <a:pt x="1243" y="2066"/>
                  <a:pt x="1241" y="2068"/>
                  <a:pt x="1238" y="2070"/>
                </a:cubicBezTo>
                <a:cubicBezTo>
                  <a:pt x="1236" y="2072"/>
                  <a:pt x="1233" y="2074"/>
                  <a:pt x="1229" y="2075"/>
                </a:cubicBezTo>
                <a:cubicBezTo>
                  <a:pt x="1225" y="2076"/>
                  <a:pt x="1221" y="2076"/>
                  <a:pt x="1217" y="2076"/>
                </a:cubicBezTo>
                <a:cubicBezTo>
                  <a:pt x="1205" y="2076"/>
                  <a:pt x="1205" y="2076"/>
                  <a:pt x="1205" y="2076"/>
                </a:cubicBezTo>
                <a:cubicBezTo>
                  <a:pt x="1205" y="2076"/>
                  <a:pt x="1205" y="2076"/>
                  <a:pt x="1205" y="2076"/>
                </a:cubicBezTo>
                <a:cubicBezTo>
                  <a:pt x="1189" y="2076"/>
                  <a:pt x="1174" y="2076"/>
                  <a:pt x="1158" y="2077"/>
                </a:cubicBezTo>
                <a:cubicBezTo>
                  <a:pt x="1156" y="2077"/>
                  <a:pt x="1154" y="2076"/>
                  <a:pt x="1152" y="2076"/>
                </a:cubicBezTo>
                <a:cubicBezTo>
                  <a:pt x="1152" y="2076"/>
                  <a:pt x="1151" y="2076"/>
                  <a:pt x="1151" y="2076"/>
                </a:cubicBezTo>
                <a:cubicBezTo>
                  <a:pt x="1149" y="2076"/>
                  <a:pt x="1148" y="2075"/>
                  <a:pt x="1146" y="2075"/>
                </a:cubicBezTo>
                <a:cubicBezTo>
                  <a:pt x="1146" y="2075"/>
                  <a:pt x="1146" y="2075"/>
                  <a:pt x="1146" y="2075"/>
                </a:cubicBezTo>
                <a:cubicBezTo>
                  <a:pt x="1145" y="2075"/>
                  <a:pt x="1145" y="2075"/>
                  <a:pt x="1145" y="2075"/>
                </a:cubicBezTo>
                <a:cubicBezTo>
                  <a:pt x="1138" y="2073"/>
                  <a:pt x="1132" y="2069"/>
                  <a:pt x="1128" y="2064"/>
                </a:cubicBezTo>
                <a:cubicBezTo>
                  <a:pt x="1128" y="2064"/>
                  <a:pt x="1128" y="2064"/>
                  <a:pt x="1128" y="2064"/>
                </a:cubicBezTo>
                <a:cubicBezTo>
                  <a:pt x="1128" y="2064"/>
                  <a:pt x="1128" y="2064"/>
                  <a:pt x="1128" y="2064"/>
                </a:cubicBezTo>
                <a:cubicBezTo>
                  <a:pt x="1127" y="2063"/>
                  <a:pt x="1126" y="2062"/>
                  <a:pt x="1126" y="2060"/>
                </a:cubicBezTo>
                <a:cubicBezTo>
                  <a:pt x="1126" y="2060"/>
                  <a:pt x="1126" y="2059"/>
                  <a:pt x="1125" y="2059"/>
                </a:cubicBezTo>
                <a:cubicBezTo>
                  <a:pt x="1125" y="2058"/>
                  <a:pt x="1125" y="2057"/>
                  <a:pt x="1125" y="2057"/>
                </a:cubicBezTo>
                <a:cubicBezTo>
                  <a:pt x="1125" y="2056"/>
                  <a:pt x="1125" y="2056"/>
                  <a:pt x="1125" y="2056"/>
                </a:cubicBezTo>
                <a:cubicBezTo>
                  <a:pt x="1125" y="2055"/>
                  <a:pt x="1125" y="2055"/>
                  <a:pt x="1125" y="2055"/>
                </a:cubicBezTo>
                <a:cubicBezTo>
                  <a:pt x="1125" y="2055"/>
                  <a:pt x="1125" y="2055"/>
                  <a:pt x="1125" y="2055"/>
                </a:cubicBezTo>
                <a:cubicBezTo>
                  <a:pt x="1124" y="2046"/>
                  <a:pt x="1123" y="2037"/>
                  <a:pt x="1123" y="2029"/>
                </a:cubicBezTo>
                <a:cubicBezTo>
                  <a:pt x="1123" y="2027"/>
                  <a:pt x="1122" y="2026"/>
                  <a:pt x="1122" y="2024"/>
                </a:cubicBezTo>
                <a:cubicBezTo>
                  <a:pt x="1122" y="2020"/>
                  <a:pt x="1122" y="2020"/>
                  <a:pt x="1122" y="2020"/>
                </a:cubicBezTo>
                <a:cubicBezTo>
                  <a:pt x="1122" y="2019"/>
                  <a:pt x="1122" y="2019"/>
                  <a:pt x="1122" y="2019"/>
                </a:cubicBezTo>
                <a:cubicBezTo>
                  <a:pt x="1122" y="2018"/>
                  <a:pt x="1122" y="2017"/>
                  <a:pt x="1122" y="2016"/>
                </a:cubicBezTo>
                <a:cubicBezTo>
                  <a:pt x="1122" y="2016"/>
                  <a:pt x="1123" y="2016"/>
                  <a:pt x="1123" y="2015"/>
                </a:cubicBezTo>
                <a:cubicBezTo>
                  <a:pt x="1123" y="2014"/>
                  <a:pt x="1123" y="2014"/>
                  <a:pt x="1123" y="2013"/>
                </a:cubicBezTo>
                <a:cubicBezTo>
                  <a:pt x="1124" y="2013"/>
                  <a:pt x="1124" y="2013"/>
                  <a:pt x="1124" y="2012"/>
                </a:cubicBezTo>
                <a:cubicBezTo>
                  <a:pt x="1124" y="2012"/>
                  <a:pt x="1124" y="2012"/>
                  <a:pt x="1124" y="2012"/>
                </a:cubicBezTo>
                <a:cubicBezTo>
                  <a:pt x="1125" y="2011"/>
                  <a:pt x="1125" y="2010"/>
                  <a:pt x="1126" y="2010"/>
                </a:cubicBezTo>
                <a:cubicBezTo>
                  <a:pt x="1126" y="2009"/>
                  <a:pt x="1127" y="2009"/>
                  <a:pt x="1127" y="2009"/>
                </a:cubicBezTo>
                <a:cubicBezTo>
                  <a:pt x="1128" y="2008"/>
                  <a:pt x="1128" y="2008"/>
                  <a:pt x="1129" y="2007"/>
                </a:cubicBezTo>
                <a:cubicBezTo>
                  <a:pt x="1129" y="2007"/>
                  <a:pt x="1129" y="2007"/>
                  <a:pt x="1130" y="2006"/>
                </a:cubicBezTo>
                <a:cubicBezTo>
                  <a:pt x="1130" y="2006"/>
                  <a:pt x="1130" y="2006"/>
                  <a:pt x="1130" y="2006"/>
                </a:cubicBezTo>
                <a:cubicBezTo>
                  <a:pt x="1131" y="2006"/>
                  <a:pt x="1132" y="2005"/>
                  <a:pt x="1133" y="2004"/>
                </a:cubicBezTo>
                <a:cubicBezTo>
                  <a:pt x="1134" y="2004"/>
                  <a:pt x="1134" y="2004"/>
                  <a:pt x="1134" y="2004"/>
                </a:cubicBezTo>
                <a:cubicBezTo>
                  <a:pt x="1134" y="2004"/>
                  <a:pt x="1135" y="2004"/>
                  <a:pt x="1135" y="2004"/>
                </a:cubicBezTo>
                <a:cubicBezTo>
                  <a:pt x="1135" y="2004"/>
                  <a:pt x="1135" y="2004"/>
                  <a:pt x="1136" y="2004"/>
                </a:cubicBezTo>
                <a:cubicBezTo>
                  <a:pt x="1137" y="2003"/>
                  <a:pt x="1138" y="2003"/>
                  <a:pt x="1139" y="2003"/>
                </a:cubicBezTo>
                <a:cubicBezTo>
                  <a:pt x="1139" y="2002"/>
                  <a:pt x="1140" y="2002"/>
                  <a:pt x="1140" y="2002"/>
                </a:cubicBezTo>
                <a:cubicBezTo>
                  <a:pt x="1141" y="2002"/>
                  <a:pt x="1141" y="2002"/>
                  <a:pt x="1142" y="2002"/>
                </a:cubicBezTo>
                <a:cubicBezTo>
                  <a:pt x="1143" y="2002"/>
                  <a:pt x="1145" y="2001"/>
                  <a:pt x="1147" y="2001"/>
                </a:cubicBezTo>
                <a:cubicBezTo>
                  <a:pt x="1147" y="2001"/>
                  <a:pt x="1148" y="2001"/>
                  <a:pt x="1148" y="2001"/>
                </a:cubicBezTo>
                <a:cubicBezTo>
                  <a:pt x="1149" y="2001"/>
                  <a:pt x="1149" y="2001"/>
                  <a:pt x="1150" y="2001"/>
                </a:cubicBezTo>
                <a:cubicBezTo>
                  <a:pt x="1153" y="2001"/>
                  <a:pt x="1153" y="2001"/>
                  <a:pt x="1153" y="2001"/>
                </a:cubicBezTo>
                <a:cubicBezTo>
                  <a:pt x="1155" y="2001"/>
                  <a:pt x="1158" y="2001"/>
                  <a:pt x="1160" y="2001"/>
                </a:cubicBezTo>
                <a:cubicBezTo>
                  <a:pt x="1163" y="2001"/>
                  <a:pt x="1165" y="2001"/>
                  <a:pt x="1168" y="2001"/>
                </a:cubicBezTo>
                <a:cubicBezTo>
                  <a:pt x="1191" y="2001"/>
                  <a:pt x="1191" y="2001"/>
                  <a:pt x="1191" y="2001"/>
                </a:cubicBezTo>
                <a:cubicBezTo>
                  <a:pt x="1197" y="2001"/>
                  <a:pt x="1203" y="2001"/>
                  <a:pt x="1209" y="2001"/>
                </a:cubicBezTo>
                <a:cubicBezTo>
                  <a:pt x="1210" y="2001"/>
                  <a:pt x="1211" y="2001"/>
                  <a:pt x="1212" y="2002"/>
                </a:cubicBezTo>
                <a:cubicBezTo>
                  <a:pt x="1212" y="2002"/>
                  <a:pt x="1213" y="2002"/>
                  <a:pt x="1214" y="2002"/>
                </a:cubicBezTo>
                <a:cubicBezTo>
                  <a:pt x="1214" y="2002"/>
                  <a:pt x="1214" y="2002"/>
                  <a:pt x="1215" y="2002"/>
                </a:cubicBezTo>
                <a:cubicBezTo>
                  <a:pt x="1215" y="2002"/>
                  <a:pt x="1216" y="2002"/>
                  <a:pt x="1216" y="2002"/>
                </a:cubicBezTo>
                <a:cubicBezTo>
                  <a:pt x="1216" y="2002"/>
                  <a:pt x="1216" y="2003"/>
                  <a:pt x="1217" y="2003"/>
                </a:cubicBezTo>
                <a:cubicBezTo>
                  <a:pt x="1218" y="2003"/>
                  <a:pt x="1219" y="2003"/>
                  <a:pt x="1220" y="2004"/>
                </a:cubicBezTo>
                <a:cubicBezTo>
                  <a:pt x="1221" y="2004"/>
                  <a:pt x="1221" y="2004"/>
                  <a:pt x="1222" y="2004"/>
                </a:cubicBezTo>
                <a:cubicBezTo>
                  <a:pt x="1222" y="2005"/>
                  <a:pt x="1223" y="2005"/>
                  <a:pt x="1223" y="2005"/>
                </a:cubicBezTo>
                <a:cubicBezTo>
                  <a:pt x="1224" y="2005"/>
                  <a:pt x="1225" y="2006"/>
                  <a:pt x="1226" y="2006"/>
                </a:cubicBezTo>
                <a:cubicBezTo>
                  <a:pt x="1229" y="2008"/>
                  <a:pt x="1231" y="2010"/>
                  <a:pt x="1233" y="2012"/>
                </a:cubicBezTo>
                <a:cubicBezTo>
                  <a:pt x="1235" y="2014"/>
                  <a:pt x="1237" y="2017"/>
                  <a:pt x="1237" y="2019"/>
                </a:cubicBezTo>
                <a:cubicBezTo>
                  <a:pt x="1240" y="2034"/>
                  <a:pt x="1240" y="2034"/>
                  <a:pt x="1240" y="2034"/>
                </a:cubicBezTo>
                <a:cubicBezTo>
                  <a:pt x="1241" y="2040"/>
                  <a:pt x="1243" y="2046"/>
                  <a:pt x="1244" y="2052"/>
                </a:cubicBezTo>
                <a:cubicBezTo>
                  <a:pt x="1244" y="2052"/>
                  <a:pt x="1244" y="2052"/>
                  <a:pt x="1244" y="2052"/>
                </a:cubicBezTo>
                <a:cubicBezTo>
                  <a:pt x="1244" y="2055"/>
                  <a:pt x="1244" y="2055"/>
                  <a:pt x="1244" y="2055"/>
                </a:cubicBezTo>
                <a:cubicBezTo>
                  <a:pt x="1245" y="2058"/>
                  <a:pt x="1245" y="2061"/>
                  <a:pt x="1244" y="2063"/>
                </a:cubicBezTo>
                <a:close/>
                <a:moveTo>
                  <a:pt x="1349" y="1880"/>
                </a:moveTo>
                <a:cubicBezTo>
                  <a:pt x="1346" y="1879"/>
                  <a:pt x="1344" y="1878"/>
                  <a:pt x="1342" y="1876"/>
                </a:cubicBezTo>
                <a:cubicBezTo>
                  <a:pt x="1340" y="1875"/>
                  <a:pt x="1338" y="1873"/>
                  <a:pt x="1338" y="1871"/>
                </a:cubicBezTo>
                <a:cubicBezTo>
                  <a:pt x="1337" y="1868"/>
                  <a:pt x="1337" y="1868"/>
                  <a:pt x="1337" y="1868"/>
                </a:cubicBezTo>
                <a:cubicBezTo>
                  <a:pt x="1335" y="1863"/>
                  <a:pt x="1333" y="1859"/>
                  <a:pt x="1332" y="1854"/>
                </a:cubicBezTo>
                <a:cubicBezTo>
                  <a:pt x="1331" y="1852"/>
                  <a:pt x="1329" y="1848"/>
                  <a:pt x="1329" y="1845"/>
                </a:cubicBezTo>
                <a:cubicBezTo>
                  <a:pt x="1329" y="1845"/>
                  <a:pt x="1329" y="1845"/>
                  <a:pt x="1329" y="1844"/>
                </a:cubicBezTo>
                <a:cubicBezTo>
                  <a:pt x="1329" y="1844"/>
                  <a:pt x="1329" y="1844"/>
                  <a:pt x="1329" y="1844"/>
                </a:cubicBezTo>
                <a:cubicBezTo>
                  <a:pt x="1329" y="1844"/>
                  <a:pt x="1329" y="1843"/>
                  <a:pt x="1329" y="1843"/>
                </a:cubicBezTo>
                <a:cubicBezTo>
                  <a:pt x="1329" y="1843"/>
                  <a:pt x="1329" y="1843"/>
                  <a:pt x="1329" y="1842"/>
                </a:cubicBezTo>
                <a:cubicBezTo>
                  <a:pt x="1329" y="1842"/>
                  <a:pt x="1329" y="1842"/>
                  <a:pt x="1329" y="1842"/>
                </a:cubicBezTo>
                <a:cubicBezTo>
                  <a:pt x="1333" y="1834"/>
                  <a:pt x="1348" y="1835"/>
                  <a:pt x="1355" y="1835"/>
                </a:cubicBezTo>
                <a:cubicBezTo>
                  <a:pt x="1392" y="1835"/>
                  <a:pt x="1392" y="1835"/>
                  <a:pt x="1392" y="1835"/>
                </a:cubicBezTo>
                <a:cubicBezTo>
                  <a:pt x="1396" y="1835"/>
                  <a:pt x="1399" y="1835"/>
                  <a:pt x="1402" y="1836"/>
                </a:cubicBezTo>
                <a:cubicBezTo>
                  <a:pt x="1403" y="1836"/>
                  <a:pt x="1404" y="1836"/>
                  <a:pt x="1405" y="1836"/>
                </a:cubicBezTo>
                <a:cubicBezTo>
                  <a:pt x="1405" y="1836"/>
                  <a:pt x="1405" y="1837"/>
                  <a:pt x="1406" y="1837"/>
                </a:cubicBezTo>
                <a:cubicBezTo>
                  <a:pt x="1406" y="1837"/>
                  <a:pt x="1407" y="1837"/>
                  <a:pt x="1408" y="1837"/>
                </a:cubicBezTo>
                <a:cubicBezTo>
                  <a:pt x="1409" y="1837"/>
                  <a:pt x="1410" y="1838"/>
                  <a:pt x="1411" y="1838"/>
                </a:cubicBezTo>
                <a:cubicBezTo>
                  <a:pt x="1411" y="1838"/>
                  <a:pt x="1411" y="1838"/>
                  <a:pt x="1411" y="1838"/>
                </a:cubicBezTo>
                <a:cubicBezTo>
                  <a:pt x="1411" y="1838"/>
                  <a:pt x="1411" y="1838"/>
                  <a:pt x="1411" y="1838"/>
                </a:cubicBezTo>
                <a:cubicBezTo>
                  <a:pt x="1412" y="1839"/>
                  <a:pt x="1413" y="1839"/>
                  <a:pt x="1414" y="1840"/>
                </a:cubicBezTo>
                <a:cubicBezTo>
                  <a:pt x="1415" y="1840"/>
                  <a:pt x="1415" y="1840"/>
                  <a:pt x="1416" y="1841"/>
                </a:cubicBezTo>
                <a:cubicBezTo>
                  <a:pt x="1416" y="1841"/>
                  <a:pt x="1416" y="1841"/>
                  <a:pt x="1417" y="1841"/>
                </a:cubicBezTo>
                <a:cubicBezTo>
                  <a:pt x="1417" y="1841"/>
                  <a:pt x="1417" y="1841"/>
                  <a:pt x="1417" y="1842"/>
                </a:cubicBezTo>
                <a:cubicBezTo>
                  <a:pt x="1418" y="1842"/>
                  <a:pt x="1418" y="1842"/>
                  <a:pt x="1418" y="1842"/>
                </a:cubicBezTo>
                <a:cubicBezTo>
                  <a:pt x="1420" y="1844"/>
                  <a:pt x="1422" y="1845"/>
                  <a:pt x="1423" y="1847"/>
                </a:cubicBezTo>
                <a:cubicBezTo>
                  <a:pt x="1423" y="1847"/>
                  <a:pt x="1423" y="1847"/>
                  <a:pt x="1423" y="1847"/>
                </a:cubicBezTo>
                <a:cubicBezTo>
                  <a:pt x="1426" y="1852"/>
                  <a:pt x="1428" y="1859"/>
                  <a:pt x="1431" y="1864"/>
                </a:cubicBezTo>
                <a:cubicBezTo>
                  <a:pt x="1431" y="1864"/>
                  <a:pt x="1431" y="1864"/>
                  <a:pt x="1431" y="1864"/>
                </a:cubicBezTo>
                <a:cubicBezTo>
                  <a:pt x="1432" y="1867"/>
                  <a:pt x="1434" y="1870"/>
                  <a:pt x="1435" y="1873"/>
                </a:cubicBezTo>
                <a:cubicBezTo>
                  <a:pt x="1435" y="1873"/>
                  <a:pt x="1435" y="1873"/>
                  <a:pt x="1435" y="1873"/>
                </a:cubicBezTo>
                <a:cubicBezTo>
                  <a:pt x="1435" y="1873"/>
                  <a:pt x="1435" y="1873"/>
                  <a:pt x="1435" y="1874"/>
                </a:cubicBezTo>
                <a:cubicBezTo>
                  <a:pt x="1436" y="1879"/>
                  <a:pt x="1431" y="1882"/>
                  <a:pt x="1425" y="1883"/>
                </a:cubicBezTo>
                <a:cubicBezTo>
                  <a:pt x="1425" y="1883"/>
                  <a:pt x="1425" y="1883"/>
                  <a:pt x="1425" y="1883"/>
                </a:cubicBezTo>
                <a:cubicBezTo>
                  <a:pt x="1425" y="1883"/>
                  <a:pt x="1424" y="1883"/>
                  <a:pt x="1424" y="1883"/>
                </a:cubicBezTo>
                <a:cubicBezTo>
                  <a:pt x="1423" y="1884"/>
                  <a:pt x="1422" y="1884"/>
                  <a:pt x="1421" y="1884"/>
                </a:cubicBezTo>
                <a:cubicBezTo>
                  <a:pt x="1421" y="1884"/>
                  <a:pt x="1420" y="1884"/>
                  <a:pt x="1420" y="1884"/>
                </a:cubicBezTo>
                <a:cubicBezTo>
                  <a:pt x="1419" y="1884"/>
                  <a:pt x="1418" y="1884"/>
                  <a:pt x="1417" y="1884"/>
                </a:cubicBezTo>
                <a:cubicBezTo>
                  <a:pt x="1417" y="1884"/>
                  <a:pt x="1416" y="1884"/>
                  <a:pt x="1416" y="1884"/>
                </a:cubicBezTo>
                <a:cubicBezTo>
                  <a:pt x="1416" y="1884"/>
                  <a:pt x="1416" y="1884"/>
                  <a:pt x="1415" y="1884"/>
                </a:cubicBezTo>
                <a:cubicBezTo>
                  <a:pt x="1414" y="1884"/>
                  <a:pt x="1414" y="1884"/>
                  <a:pt x="1414" y="1884"/>
                </a:cubicBezTo>
                <a:cubicBezTo>
                  <a:pt x="1408" y="1884"/>
                  <a:pt x="1403" y="1884"/>
                  <a:pt x="1397" y="1884"/>
                </a:cubicBezTo>
                <a:cubicBezTo>
                  <a:pt x="1387" y="1884"/>
                  <a:pt x="1378" y="1884"/>
                  <a:pt x="1368" y="1884"/>
                </a:cubicBezTo>
                <a:cubicBezTo>
                  <a:pt x="1362" y="1884"/>
                  <a:pt x="1355" y="1883"/>
                  <a:pt x="1349" y="1880"/>
                </a:cubicBezTo>
                <a:cubicBezTo>
                  <a:pt x="1349" y="1880"/>
                  <a:pt x="1349" y="1880"/>
                  <a:pt x="1349" y="1880"/>
                </a:cubicBezTo>
                <a:close/>
                <a:moveTo>
                  <a:pt x="1373" y="1961"/>
                </a:moveTo>
                <a:cubicBezTo>
                  <a:pt x="1371" y="1959"/>
                  <a:pt x="1369" y="1956"/>
                  <a:pt x="1369" y="1954"/>
                </a:cubicBezTo>
                <a:cubicBezTo>
                  <a:pt x="1363" y="1940"/>
                  <a:pt x="1363" y="1940"/>
                  <a:pt x="1363" y="1940"/>
                </a:cubicBezTo>
                <a:cubicBezTo>
                  <a:pt x="1362" y="1935"/>
                  <a:pt x="1360" y="1931"/>
                  <a:pt x="1359" y="1927"/>
                </a:cubicBezTo>
                <a:cubicBezTo>
                  <a:pt x="1359" y="1927"/>
                  <a:pt x="1359" y="1927"/>
                  <a:pt x="1359" y="1927"/>
                </a:cubicBezTo>
                <a:cubicBezTo>
                  <a:pt x="1358" y="1925"/>
                  <a:pt x="1358" y="1925"/>
                  <a:pt x="1358" y="1925"/>
                </a:cubicBezTo>
                <a:cubicBezTo>
                  <a:pt x="1357" y="1923"/>
                  <a:pt x="1357" y="1921"/>
                  <a:pt x="1358" y="1919"/>
                </a:cubicBezTo>
                <a:cubicBezTo>
                  <a:pt x="1358" y="1918"/>
                  <a:pt x="1359" y="1917"/>
                  <a:pt x="1360" y="1916"/>
                </a:cubicBezTo>
                <a:cubicBezTo>
                  <a:pt x="1360" y="1916"/>
                  <a:pt x="1361" y="1916"/>
                  <a:pt x="1361" y="1915"/>
                </a:cubicBezTo>
                <a:cubicBezTo>
                  <a:pt x="1361" y="1915"/>
                  <a:pt x="1361" y="1915"/>
                  <a:pt x="1362" y="1915"/>
                </a:cubicBezTo>
                <a:cubicBezTo>
                  <a:pt x="1364" y="1913"/>
                  <a:pt x="1366" y="1912"/>
                  <a:pt x="1369" y="1911"/>
                </a:cubicBezTo>
                <a:cubicBezTo>
                  <a:pt x="1371" y="1911"/>
                  <a:pt x="1374" y="1910"/>
                  <a:pt x="1376" y="1910"/>
                </a:cubicBezTo>
                <a:cubicBezTo>
                  <a:pt x="1386" y="1909"/>
                  <a:pt x="1397" y="1910"/>
                  <a:pt x="1402" y="1910"/>
                </a:cubicBezTo>
                <a:cubicBezTo>
                  <a:pt x="1420" y="1910"/>
                  <a:pt x="1451" y="1906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5" y="1933"/>
                  <a:pt x="1469" y="1940"/>
                  <a:pt x="1473" y="1948"/>
                </a:cubicBezTo>
                <a:cubicBezTo>
                  <a:pt x="1474" y="1951"/>
                  <a:pt x="1476" y="1953"/>
                  <a:pt x="1476" y="1956"/>
                </a:cubicBezTo>
                <a:cubicBezTo>
                  <a:pt x="1476" y="1956"/>
                  <a:pt x="1476" y="1956"/>
                  <a:pt x="1476" y="1957"/>
                </a:cubicBezTo>
                <a:cubicBezTo>
                  <a:pt x="1477" y="1957"/>
                  <a:pt x="1477" y="1958"/>
                  <a:pt x="1477" y="1958"/>
                </a:cubicBezTo>
                <a:cubicBezTo>
                  <a:pt x="1477" y="1959"/>
                  <a:pt x="1477" y="1959"/>
                  <a:pt x="1477" y="1960"/>
                </a:cubicBezTo>
                <a:cubicBezTo>
                  <a:pt x="1477" y="1960"/>
                  <a:pt x="1477" y="1960"/>
                  <a:pt x="1477" y="1960"/>
                </a:cubicBezTo>
                <a:cubicBezTo>
                  <a:pt x="1477" y="1960"/>
                  <a:pt x="1476" y="1961"/>
                  <a:pt x="1476" y="1961"/>
                </a:cubicBezTo>
                <a:cubicBezTo>
                  <a:pt x="1476" y="1962"/>
                  <a:pt x="1476" y="1962"/>
                  <a:pt x="1475" y="1963"/>
                </a:cubicBezTo>
                <a:cubicBezTo>
                  <a:pt x="1475" y="1963"/>
                  <a:pt x="1475" y="1963"/>
                  <a:pt x="1475" y="1963"/>
                </a:cubicBezTo>
                <a:cubicBezTo>
                  <a:pt x="1475" y="1964"/>
                  <a:pt x="1474" y="1965"/>
                  <a:pt x="1474" y="1965"/>
                </a:cubicBezTo>
                <a:cubicBezTo>
                  <a:pt x="1473" y="1965"/>
                  <a:pt x="1473" y="1965"/>
                  <a:pt x="1473" y="1966"/>
                </a:cubicBezTo>
                <a:cubicBezTo>
                  <a:pt x="1473" y="1966"/>
                  <a:pt x="1473" y="1966"/>
                  <a:pt x="1472" y="1966"/>
                </a:cubicBezTo>
                <a:cubicBezTo>
                  <a:pt x="1472" y="1966"/>
                  <a:pt x="1472" y="1967"/>
                  <a:pt x="1471" y="1967"/>
                </a:cubicBezTo>
                <a:cubicBezTo>
                  <a:pt x="1470" y="1968"/>
                  <a:pt x="1468" y="1969"/>
                  <a:pt x="1466" y="1969"/>
                </a:cubicBezTo>
                <a:cubicBezTo>
                  <a:pt x="1465" y="1969"/>
                  <a:pt x="1465" y="1969"/>
                  <a:pt x="1464" y="1970"/>
                </a:cubicBezTo>
                <a:cubicBezTo>
                  <a:pt x="1463" y="1970"/>
                  <a:pt x="1462" y="1970"/>
                  <a:pt x="1462" y="1970"/>
                </a:cubicBezTo>
                <a:cubicBezTo>
                  <a:pt x="1461" y="1970"/>
                  <a:pt x="1461" y="1970"/>
                  <a:pt x="1461" y="1970"/>
                </a:cubicBezTo>
                <a:cubicBezTo>
                  <a:pt x="1460" y="1970"/>
                  <a:pt x="1460" y="1970"/>
                  <a:pt x="1460" y="1970"/>
                </a:cubicBezTo>
                <a:cubicBezTo>
                  <a:pt x="1441" y="1972"/>
                  <a:pt x="1422" y="1971"/>
                  <a:pt x="1403" y="1971"/>
                </a:cubicBezTo>
                <a:cubicBezTo>
                  <a:pt x="1401" y="1971"/>
                  <a:pt x="1399" y="1971"/>
                  <a:pt x="1397" y="1970"/>
                </a:cubicBezTo>
                <a:cubicBezTo>
                  <a:pt x="1397" y="1970"/>
                  <a:pt x="1397" y="1970"/>
                  <a:pt x="1397" y="1970"/>
                </a:cubicBezTo>
                <a:cubicBezTo>
                  <a:pt x="1390" y="1970"/>
                  <a:pt x="1383" y="1967"/>
                  <a:pt x="1377" y="1964"/>
                </a:cubicBezTo>
                <a:cubicBezTo>
                  <a:pt x="1376" y="1963"/>
                  <a:pt x="1374" y="1962"/>
                  <a:pt x="1373" y="1961"/>
                </a:cubicBezTo>
                <a:close/>
                <a:moveTo>
                  <a:pt x="1527" y="2063"/>
                </a:moveTo>
                <a:cubicBezTo>
                  <a:pt x="1527" y="2063"/>
                  <a:pt x="1527" y="2064"/>
                  <a:pt x="1527" y="2064"/>
                </a:cubicBezTo>
                <a:cubicBezTo>
                  <a:pt x="1527" y="2065"/>
                  <a:pt x="1526" y="2065"/>
                  <a:pt x="1526" y="2065"/>
                </a:cubicBezTo>
                <a:cubicBezTo>
                  <a:pt x="1526" y="2066"/>
                  <a:pt x="1526" y="2066"/>
                  <a:pt x="1525" y="2067"/>
                </a:cubicBezTo>
                <a:cubicBezTo>
                  <a:pt x="1525" y="2067"/>
                  <a:pt x="1525" y="2068"/>
                  <a:pt x="1525" y="2068"/>
                </a:cubicBezTo>
                <a:cubicBezTo>
                  <a:pt x="1525" y="2068"/>
                  <a:pt x="1524" y="2068"/>
                  <a:pt x="1524" y="2069"/>
                </a:cubicBezTo>
                <a:cubicBezTo>
                  <a:pt x="1524" y="2069"/>
                  <a:pt x="1524" y="2069"/>
                  <a:pt x="1524" y="2069"/>
                </a:cubicBezTo>
                <a:cubicBezTo>
                  <a:pt x="1524" y="2069"/>
                  <a:pt x="1523" y="2070"/>
                  <a:pt x="1523" y="2070"/>
                </a:cubicBezTo>
                <a:cubicBezTo>
                  <a:pt x="1520" y="2073"/>
                  <a:pt x="1515" y="2074"/>
                  <a:pt x="1511" y="2075"/>
                </a:cubicBezTo>
                <a:cubicBezTo>
                  <a:pt x="1510" y="2075"/>
                  <a:pt x="1510" y="2075"/>
                  <a:pt x="1510" y="2075"/>
                </a:cubicBezTo>
                <a:cubicBezTo>
                  <a:pt x="1508" y="2075"/>
                  <a:pt x="1506" y="2076"/>
                  <a:pt x="1504" y="2076"/>
                </a:cubicBezTo>
                <a:cubicBezTo>
                  <a:pt x="1504" y="2076"/>
                  <a:pt x="1504" y="2076"/>
                  <a:pt x="1504" y="2076"/>
                </a:cubicBezTo>
                <a:cubicBezTo>
                  <a:pt x="1503" y="2076"/>
                  <a:pt x="1503" y="2076"/>
                  <a:pt x="1503" y="2076"/>
                </a:cubicBezTo>
                <a:cubicBezTo>
                  <a:pt x="1501" y="2076"/>
                  <a:pt x="1499" y="2076"/>
                  <a:pt x="1497" y="2076"/>
                </a:cubicBezTo>
                <a:cubicBezTo>
                  <a:pt x="1446" y="2076"/>
                  <a:pt x="1446" y="2076"/>
                  <a:pt x="1446" y="2076"/>
                </a:cubicBezTo>
                <a:cubicBezTo>
                  <a:pt x="1444" y="2076"/>
                  <a:pt x="1441" y="2076"/>
                  <a:pt x="1439" y="2075"/>
                </a:cubicBezTo>
                <a:cubicBezTo>
                  <a:pt x="1439" y="2075"/>
                  <a:pt x="1438" y="2075"/>
                  <a:pt x="1438" y="2075"/>
                </a:cubicBezTo>
                <a:cubicBezTo>
                  <a:pt x="1427" y="2074"/>
                  <a:pt x="1414" y="2069"/>
                  <a:pt x="1408" y="2059"/>
                </a:cubicBezTo>
                <a:cubicBezTo>
                  <a:pt x="1407" y="2058"/>
                  <a:pt x="1407" y="2056"/>
                  <a:pt x="1406" y="2055"/>
                </a:cubicBezTo>
                <a:cubicBezTo>
                  <a:pt x="1406" y="2055"/>
                  <a:pt x="1406" y="2055"/>
                  <a:pt x="1406" y="2055"/>
                </a:cubicBezTo>
                <a:cubicBezTo>
                  <a:pt x="1406" y="2055"/>
                  <a:pt x="1406" y="2055"/>
                  <a:pt x="1406" y="2055"/>
                </a:cubicBezTo>
                <a:cubicBezTo>
                  <a:pt x="1403" y="2047"/>
                  <a:pt x="1400" y="2040"/>
                  <a:pt x="1398" y="2032"/>
                </a:cubicBezTo>
                <a:cubicBezTo>
                  <a:pt x="1396" y="2029"/>
                  <a:pt x="1394" y="2024"/>
                  <a:pt x="1393" y="2019"/>
                </a:cubicBezTo>
                <a:cubicBezTo>
                  <a:pt x="1393" y="2019"/>
                  <a:pt x="1393" y="2019"/>
                  <a:pt x="1393" y="2019"/>
                </a:cubicBezTo>
                <a:cubicBezTo>
                  <a:pt x="1393" y="2019"/>
                  <a:pt x="1393" y="2019"/>
                  <a:pt x="1393" y="2019"/>
                </a:cubicBezTo>
                <a:cubicBezTo>
                  <a:pt x="1392" y="2018"/>
                  <a:pt x="1392" y="2018"/>
                  <a:pt x="1392" y="2017"/>
                </a:cubicBezTo>
                <a:cubicBezTo>
                  <a:pt x="1392" y="2015"/>
                  <a:pt x="1392" y="2013"/>
                  <a:pt x="1392" y="2012"/>
                </a:cubicBezTo>
                <a:cubicBezTo>
                  <a:pt x="1393" y="2011"/>
                  <a:pt x="1393" y="2010"/>
                  <a:pt x="1394" y="2009"/>
                </a:cubicBezTo>
                <a:cubicBezTo>
                  <a:pt x="1394" y="2009"/>
                  <a:pt x="1394" y="2009"/>
                  <a:pt x="1394" y="2009"/>
                </a:cubicBezTo>
                <a:cubicBezTo>
                  <a:pt x="1397" y="2004"/>
                  <a:pt x="1403" y="2002"/>
                  <a:pt x="1409" y="2001"/>
                </a:cubicBezTo>
                <a:cubicBezTo>
                  <a:pt x="1409" y="2001"/>
                  <a:pt x="1409" y="2001"/>
                  <a:pt x="1410" y="2001"/>
                </a:cubicBezTo>
                <a:cubicBezTo>
                  <a:pt x="1411" y="2001"/>
                  <a:pt x="1413" y="2001"/>
                  <a:pt x="1414" y="2000"/>
                </a:cubicBezTo>
                <a:cubicBezTo>
                  <a:pt x="1414" y="2000"/>
                  <a:pt x="1415" y="2000"/>
                  <a:pt x="1415" y="2000"/>
                </a:cubicBezTo>
                <a:cubicBezTo>
                  <a:pt x="1418" y="2000"/>
                  <a:pt x="1418" y="2000"/>
                  <a:pt x="1418" y="2000"/>
                </a:cubicBezTo>
                <a:cubicBezTo>
                  <a:pt x="1419" y="2000"/>
                  <a:pt x="1420" y="2000"/>
                  <a:pt x="1421" y="2000"/>
                </a:cubicBezTo>
                <a:cubicBezTo>
                  <a:pt x="1437" y="2000"/>
                  <a:pt x="1453" y="2000"/>
                  <a:pt x="1469" y="2000"/>
                </a:cubicBezTo>
                <a:cubicBezTo>
                  <a:pt x="1469" y="2000"/>
                  <a:pt x="1469" y="2000"/>
                  <a:pt x="1469" y="2000"/>
                </a:cubicBezTo>
                <a:cubicBezTo>
                  <a:pt x="1469" y="2000"/>
                  <a:pt x="1469" y="2000"/>
                  <a:pt x="1469" y="2000"/>
                </a:cubicBezTo>
                <a:cubicBezTo>
                  <a:pt x="1471" y="2000"/>
                  <a:pt x="1473" y="2000"/>
                  <a:pt x="1475" y="2001"/>
                </a:cubicBezTo>
                <a:cubicBezTo>
                  <a:pt x="1475" y="2001"/>
                  <a:pt x="1476" y="2001"/>
                  <a:pt x="1476" y="2001"/>
                </a:cubicBezTo>
                <a:cubicBezTo>
                  <a:pt x="1487" y="2002"/>
                  <a:pt x="1499" y="2006"/>
                  <a:pt x="1505" y="2015"/>
                </a:cubicBezTo>
                <a:cubicBezTo>
                  <a:pt x="1506" y="2016"/>
                  <a:pt x="1507" y="2017"/>
                  <a:pt x="1508" y="2019"/>
                </a:cubicBezTo>
                <a:cubicBezTo>
                  <a:pt x="1509" y="2022"/>
                  <a:pt x="1509" y="2022"/>
                  <a:pt x="1509" y="2022"/>
                </a:cubicBezTo>
                <a:cubicBezTo>
                  <a:pt x="1512" y="2028"/>
                  <a:pt x="1516" y="2035"/>
                  <a:pt x="1519" y="2041"/>
                </a:cubicBezTo>
                <a:cubicBezTo>
                  <a:pt x="1521" y="2045"/>
                  <a:pt x="1524" y="2051"/>
                  <a:pt x="1526" y="2056"/>
                </a:cubicBezTo>
                <a:cubicBezTo>
                  <a:pt x="1527" y="2058"/>
                  <a:pt x="1527" y="2061"/>
                  <a:pt x="1527" y="2063"/>
                </a:cubicBezTo>
                <a:close/>
                <a:moveTo>
                  <a:pt x="1640" y="2000"/>
                </a:moveTo>
                <a:cubicBezTo>
                  <a:pt x="1642" y="2000"/>
                  <a:pt x="1643" y="2000"/>
                  <a:pt x="1645" y="2000"/>
                </a:cubicBezTo>
                <a:cubicBezTo>
                  <a:pt x="1645" y="2000"/>
                  <a:pt x="1645" y="2000"/>
                  <a:pt x="1646" y="2000"/>
                </a:cubicBezTo>
                <a:cubicBezTo>
                  <a:pt x="1657" y="2002"/>
                  <a:pt x="1669" y="2006"/>
                  <a:pt x="1677" y="2014"/>
                </a:cubicBezTo>
                <a:cubicBezTo>
                  <a:pt x="1678" y="2014"/>
                  <a:pt x="1678" y="2015"/>
                  <a:pt x="1678" y="2015"/>
                </a:cubicBezTo>
                <a:cubicBezTo>
                  <a:pt x="1679" y="2016"/>
                  <a:pt x="1679" y="2016"/>
                  <a:pt x="1680" y="2017"/>
                </a:cubicBezTo>
                <a:cubicBezTo>
                  <a:pt x="1680" y="2017"/>
                  <a:pt x="1680" y="2017"/>
                  <a:pt x="1680" y="2018"/>
                </a:cubicBezTo>
                <a:cubicBezTo>
                  <a:pt x="1681" y="2018"/>
                  <a:pt x="1681" y="2018"/>
                  <a:pt x="1681" y="2018"/>
                </a:cubicBezTo>
                <a:cubicBezTo>
                  <a:pt x="1682" y="2019"/>
                  <a:pt x="1682" y="2019"/>
                  <a:pt x="1682" y="2019"/>
                </a:cubicBezTo>
                <a:cubicBezTo>
                  <a:pt x="1685" y="2024"/>
                  <a:pt x="1688" y="2029"/>
                  <a:pt x="1692" y="2034"/>
                </a:cubicBezTo>
                <a:cubicBezTo>
                  <a:pt x="1692" y="2034"/>
                  <a:pt x="1692" y="2034"/>
                  <a:pt x="1692" y="2034"/>
                </a:cubicBezTo>
                <a:cubicBezTo>
                  <a:pt x="1697" y="2041"/>
                  <a:pt x="1703" y="2049"/>
                  <a:pt x="1707" y="2056"/>
                </a:cubicBezTo>
                <a:cubicBezTo>
                  <a:pt x="1707" y="2057"/>
                  <a:pt x="1707" y="2057"/>
                  <a:pt x="1708" y="2058"/>
                </a:cubicBezTo>
                <a:cubicBezTo>
                  <a:pt x="1708" y="2058"/>
                  <a:pt x="1708" y="2058"/>
                  <a:pt x="1708" y="2058"/>
                </a:cubicBezTo>
                <a:cubicBezTo>
                  <a:pt x="1709" y="2063"/>
                  <a:pt x="1709" y="2066"/>
                  <a:pt x="1707" y="2068"/>
                </a:cubicBezTo>
                <a:cubicBezTo>
                  <a:pt x="1706" y="2069"/>
                  <a:pt x="1706" y="2069"/>
                  <a:pt x="1706" y="2069"/>
                </a:cubicBezTo>
                <a:cubicBezTo>
                  <a:pt x="1705" y="2071"/>
                  <a:pt x="1702" y="2072"/>
                  <a:pt x="1699" y="2073"/>
                </a:cubicBezTo>
                <a:cubicBezTo>
                  <a:pt x="1696" y="2074"/>
                  <a:pt x="1692" y="2075"/>
                  <a:pt x="1688" y="2075"/>
                </a:cubicBezTo>
                <a:cubicBezTo>
                  <a:pt x="1684" y="2075"/>
                  <a:pt x="1684" y="2075"/>
                  <a:pt x="1684" y="2075"/>
                </a:cubicBezTo>
                <a:cubicBezTo>
                  <a:pt x="1684" y="2075"/>
                  <a:pt x="1684" y="2075"/>
                  <a:pt x="1684" y="2075"/>
                </a:cubicBezTo>
                <a:cubicBezTo>
                  <a:pt x="1666" y="2075"/>
                  <a:pt x="1648" y="2075"/>
                  <a:pt x="1629" y="2075"/>
                </a:cubicBezTo>
                <a:cubicBezTo>
                  <a:pt x="1627" y="2075"/>
                  <a:pt x="1625" y="2075"/>
                  <a:pt x="1623" y="2075"/>
                </a:cubicBezTo>
                <a:cubicBezTo>
                  <a:pt x="1623" y="2075"/>
                  <a:pt x="1623" y="2075"/>
                  <a:pt x="1623" y="2075"/>
                </a:cubicBezTo>
                <a:cubicBezTo>
                  <a:pt x="1610" y="2073"/>
                  <a:pt x="1597" y="2068"/>
                  <a:pt x="1589" y="2059"/>
                </a:cubicBezTo>
                <a:cubicBezTo>
                  <a:pt x="1588" y="2057"/>
                  <a:pt x="1587" y="2056"/>
                  <a:pt x="1586" y="2055"/>
                </a:cubicBezTo>
                <a:cubicBezTo>
                  <a:pt x="1586" y="2054"/>
                  <a:pt x="1586" y="2054"/>
                  <a:pt x="1586" y="2054"/>
                </a:cubicBezTo>
                <a:cubicBezTo>
                  <a:pt x="1586" y="2054"/>
                  <a:pt x="1586" y="2054"/>
                  <a:pt x="1586" y="2054"/>
                </a:cubicBezTo>
                <a:cubicBezTo>
                  <a:pt x="1582" y="2047"/>
                  <a:pt x="1578" y="2041"/>
                  <a:pt x="1574" y="2034"/>
                </a:cubicBezTo>
                <a:cubicBezTo>
                  <a:pt x="1571" y="2029"/>
                  <a:pt x="1566" y="2021"/>
                  <a:pt x="1564" y="2015"/>
                </a:cubicBezTo>
                <a:cubicBezTo>
                  <a:pt x="1564" y="2015"/>
                  <a:pt x="1564" y="2015"/>
                  <a:pt x="1564" y="2014"/>
                </a:cubicBezTo>
                <a:cubicBezTo>
                  <a:pt x="1564" y="2014"/>
                  <a:pt x="1564" y="2013"/>
                  <a:pt x="1564" y="2013"/>
                </a:cubicBezTo>
                <a:cubicBezTo>
                  <a:pt x="1564" y="2006"/>
                  <a:pt x="1568" y="2003"/>
                  <a:pt x="1574" y="2002"/>
                </a:cubicBezTo>
                <a:cubicBezTo>
                  <a:pt x="1574" y="2001"/>
                  <a:pt x="1574" y="2001"/>
                  <a:pt x="1574" y="2001"/>
                </a:cubicBezTo>
                <a:cubicBezTo>
                  <a:pt x="1574" y="2001"/>
                  <a:pt x="1575" y="2001"/>
                  <a:pt x="1575" y="2001"/>
                </a:cubicBezTo>
                <a:cubicBezTo>
                  <a:pt x="1575" y="2001"/>
                  <a:pt x="1576" y="2001"/>
                  <a:pt x="1576" y="2001"/>
                </a:cubicBezTo>
                <a:cubicBezTo>
                  <a:pt x="1579" y="2000"/>
                  <a:pt x="1581" y="2000"/>
                  <a:pt x="1585" y="2000"/>
                </a:cubicBezTo>
                <a:cubicBezTo>
                  <a:pt x="1621" y="2000"/>
                  <a:pt x="1621" y="2000"/>
                  <a:pt x="1621" y="2000"/>
                </a:cubicBezTo>
                <a:cubicBezTo>
                  <a:pt x="1627" y="2000"/>
                  <a:pt x="1633" y="2000"/>
                  <a:pt x="1639" y="2000"/>
                </a:cubicBezTo>
                <a:cubicBezTo>
                  <a:pt x="1639" y="2000"/>
                  <a:pt x="1639" y="2000"/>
                  <a:pt x="1639" y="2000"/>
                </a:cubicBezTo>
                <a:cubicBezTo>
                  <a:pt x="1639" y="2000"/>
                  <a:pt x="1640" y="2000"/>
                  <a:pt x="1640" y="2000"/>
                </a:cubicBezTo>
                <a:close/>
                <a:moveTo>
                  <a:pt x="1617" y="1924"/>
                </a:moveTo>
                <a:cubicBezTo>
                  <a:pt x="1621" y="1930"/>
                  <a:pt x="1625" y="1937"/>
                  <a:pt x="1629" y="1943"/>
                </a:cubicBezTo>
                <a:cubicBezTo>
                  <a:pt x="1631" y="1946"/>
                  <a:pt x="1635" y="1950"/>
                  <a:pt x="1637" y="1955"/>
                </a:cubicBezTo>
                <a:cubicBezTo>
                  <a:pt x="1638" y="1956"/>
                  <a:pt x="1639" y="1958"/>
                  <a:pt x="1639" y="1960"/>
                </a:cubicBezTo>
                <a:cubicBezTo>
                  <a:pt x="1639" y="1961"/>
                  <a:pt x="1638" y="1962"/>
                  <a:pt x="1638" y="1963"/>
                </a:cubicBezTo>
                <a:cubicBezTo>
                  <a:pt x="1637" y="1964"/>
                  <a:pt x="1637" y="1964"/>
                  <a:pt x="1636" y="1965"/>
                </a:cubicBezTo>
                <a:cubicBezTo>
                  <a:pt x="1636" y="1965"/>
                  <a:pt x="1636" y="1965"/>
                  <a:pt x="1636" y="1965"/>
                </a:cubicBezTo>
                <a:cubicBezTo>
                  <a:pt x="1636" y="1965"/>
                  <a:pt x="1636" y="1965"/>
                  <a:pt x="1636" y="1965"/>
                </a:cubicBezTo>
                <a:cubicBezTo>
                  <a:pt x="1636" y="1966"/>
                  <a:pt x="1635" y="1966"/>
                  <a:pt x="1635" y="1966"/>
                </a:cubicBezTo>
                <a:cubicBezTo>
                  <a:pt x="1635" y="1966"/>
                  <a:pt x="1634" y="1967"/>
                  <a:pt x="1634" y="1967"/>
                </a:cubicBezTo>
                <a:cubicBezTo>
                  <a:pt x="1634" y="1967"/>
                  <a:pt x="1633" y="1967"/>
                  <a:pt x="1632" y="1968"/>
                </a:cubicBezTo>
                <a:cubicBezTo>
                  <a:pt x="1632" y="1968"/>
                  <a:pt x="1631" y="1968"/>
                  <a:pt x="1630" y="1969"/>
                </a:cubicBezTo>
                <a:cubicBezTo>
                  <a:pt x="1630" y="1969"/>
                  <a:pt x="1630" y="1969"/>
                  <a:pt x="1630" y="1969"/>
                </a:cubicBezTo>
                <a:cubicBezTo>
                  <a:pt x="1630" y="1969"/>
                  <a:pt x="1630" y="1969"/>
                  <a:pt x="1629" y="1969"/>
                </a:cubicBezTo>
                <a:cubicBezTo>
                  <a:pt x="1620" y="1972"/>
                  <a:pt x="1607" y="1970"/>
                  <a:pt x="1598" y="1970"/>
                </a:cubicBezTo>
                <a:cubicBezTo>
                  <a:pt x="1588" y="1970"/>
                  <a:pt x="1578" y="1970"/>
                  <a:pt x="1567" y="1970"/>
                </a:cubicBezTo>
                <a:cubicBezTo>
                  <a:pt x="1558" y="1970"/>
                  <a:pt x="1547" y="1968"/>
                  <a:pt x="1539" y="1962"/>
                </a:cubicBezTo>
                <a:cubicBezTo>
                  <a:pt x="1538" y="1962"/>
                  <a:pt x="1536" y="1961"/>
                  <a:pt x="1535" y="1960"/>
                </a:cubicBezTo>
                <a:cubicBezTo>
                  <a:pt x="1533" y="1958"/>
                  <a:pt x="1531" y="1956"/>
                  <a:pt x="1530" y="1954"/>
                </a:cubicBezTo>
                <a:cubicBezTo>
                  <a:pt x="1529" y="1952"/>
                  <a:pt x="1529" y="1952"/>
                  <a:pt x="1529" y="1952"/>
                </a:cubicBezTo>
                <a:cubicBezTo>
                  <a:pt x="1529" y="1952"/>
                  <a:pt x="1529" y="1952"/>
                  <a:pt x="1529" y="1952"/>
                </a:cubicBezTo>
                <a:cubicBezTo>
                  <a:pt x="1524" y="1944"/>
                  <a:pt x="1520" y="1936"/>
                  <a:pt x="1515" y="1928"/>
                </a:cubicBezTo>
                <a:cubicBezTo>
                  <a:pt x="1513" y="1925"/>
                  <a:pt x="1513" y="1925"/>
                  <a:pt x="1513" y="1925"/>
                </a:cubicBezTo>
                <a:cubicBezTo>
                  <a:pt x="1512" y="1923"/>
                  <a:pt x="1512" y="1921"/>
                  <a:pt x="1512" y="1919"/>
                </a:cubicBezTo>
                <a:cubicBezTo>
                  <a:pt x="1512" y="1917"/>
                  <a:pt x="1513" y="1915"/>
                  <a:pt x="1515" y="1914"/>
                </a:cubicBezTo>
                <a:cubicBezTo>
                  <a:pt x="1517" y="1913"/>
                  <a:pt x="1519" y="1912"/>
                  <a:pt x="1522" y="1911"/>
                </a:cubicBezTo>
                <a:cubicBezTo>
                  <a:pt x="1524" y="1910"/>
                  <a:pt x="1528" y="1910"/>
                  <a:pt x="1531" y="1910"/>
                </a:cubicBezTo>
                <a:cubicBezTo>
                  <a:pt x="1532" y="1910"/>
                  <a:pt x="1532" y="1910"/>
                  <a:pt x="1532" y="1910"/>
                </a:cubicBezTo>
                <a:cubicBezTo>
                  <a:pt x="1540" y="1909"/>
                  <a:pt x="1548" y="1910"/>
                  <a:pt x="1553" y="1910"/>
                </a:cubicBezTo>
                <a:cubicBezTo>
                  <a:pt x="1573" y="1910"/>
                  <a:pt x="1604" y="1906"/>
                  <a:pt x="1617" y="1924"/>
                </a:cubicBezTo>
                <a:close/>
                <a:moveTo>
                  <a:pt x="366" y="1441"/>
                </a:moveTo>
                <a:cubicBezTo>
                  <a:pt x="372" y="1443"/>
                  <a:pt x="377" y="1446"/>
                  <a:pt x="382" y="1448"/>
                </a:cubicBezTo>
                <a:cubicBezTo>
                  <a:pt x="392" y="1453"/>
                  <a:pt x="403" y="1458"/>
                  <a:pt x="413" y="1462"/>
                </a:cubicBezTo>
                <a:cubicBezTo>
                  <a:pt x="418" y="1464"/>
                  <a:pt x="422" y="1466"/>
                  <a:pt x="426" y="1468"/>
                </a:cubicBezTo>
                <a:cubicBezTo>
                  <a:pt x="430" y="1469"/>
                  <a:pt x="433" y="1470"/>
                  <a:pt x="437" y="1472"/>
                </a:cubicBezTo>
                <a:cubicBezTo>
                  <a:pt x="458" y="1479"/>
                  <a:pt x="479" y="1486"/>
                  <a:pt x="502" y="1492"/>
                </a:cubicBezTo>
                <a:cubicBezTo>
                  <a:pt x="527" y="1499"/>
                  <a:pt x="552" y="1505"/>
                  <a:pt x="578" y="1510"/>
                </a:cubicBezTo>
                <a:cubicBezTo>
                  <a:pt x="683" y="1532"/>
                  <a:pt x="786" y="1541"/>
                  <a:pt x="819" y="1542"/>
                </a:cubicBezTo>
                <a:cubicBezTo>
                  <a:pt x="819" y="1610"/>
                  <a:pt x="819" y="1610"/>
                  <a:pt x="819" y="1610"/>
                </a:cubicBezTo>
                <a:cubicBezTo>
                  <a:pt x="857" y="1570"/>
                  <a:pt x="857" y="1570"/>
                  <a:pt x="857" y="1570"/>
                </a:cubicBezTo>
                <a:cubicBezTo>
                  <a:pt x="906" y="1518"/>
                  <a:pt x="906" y="1518"/>
                  <a:pt x="906" y="1518"/>
                </a:cubicBezTo>
                <a:cubicBezTo>
                  <a:pt x="1019" y="1399"/>
                  <a:pt x="1019" y="1399"/>
                  <a:pt x="1019" y="1399"/>
                </a:cubicBezTo>
                <a:cubicBezTo>
                  <a:pt x="933" y="1308"/>
                  <a:pt x="933" y="1308"/>
                  <a:pt x="933" y="1308"/>
                </a:cubicBezTo>
                <a:cubicBezTo>
                  <a:pt x="819" y="1188"/>
                  <a:pt x="819" y="1188"/>
                  <a:pt x="819" y="1188"/>
                </a:cubicBezTo>
                <a:cubicBezTo>
                  <a:pt x="819" y="1271"/>
                  <a:pt x="819" y="1271"/>
                  <a:pt x="819" y="1271"/>
                </a:cubicBezTo>
                <a:cubicBezTo>
                  <a:pt x="740" y="1279"/>
                  <a:pt x="653" y="1266"/>
                  <a:pt x="578" y="1249"/>
                </a:cubicBezTo>
                <a:cubicBezTo>
                  <a:pt x="550" y="1242"/>
                  <a:pt x="525" y="1235"/>
                  <a:pt x="502" y="1229"/>
                </a:cubicBezTo>
                <a:cubicBezTo>
                  <a:pt x="471" y="1219"/>
                  <a:pt x="445" y="1211"/>
                  <a:pt x="426" y="1204"/>
                </a:cubicBezTo>
                <a:cubicBezTo>
                  <a:pt x="422" y="1202"/>
                  <a:pt x="418" y="1201"/>
                  <a:pt x="415" y="1199"/>
                </a:cubicBezTo>
                <a:cubicBezTo>
                  <a:pt x="414" y="1199"/>
                  <a:pt x="414" y="1199"/>
                  <a:pt x="413" y="1199"/>
                </a:cubicBezTo>
                <a:cubicBezTo>
                  <a:pt x="413" y="1199"/>
                  <a:pt x="413" y="1199"/>
                  <a:pt x="413" y="1199"/>
                </a:cubicBezTo>
                <a:cubicBezTo>
                  <a:pt x="354" y="1175"/>
                  <a:pt x="300" y="1147"/>
                  <a:pt x="253" y="1115"/>
                </a:cubicBezTo>
                <a:cubicBezTo>
                  <a:pt x="189" y="1073"/>
                  <a:pt x="142" y="1028"/>
                  <a:pt x="110" y="981"/>
                </a:cubicBezTo>
                <a:cubicBezTo>
                  <a:pt x="94" y="963"/>
                  <a:pt x="80" y="944"/>
                  <a:pt x="68" y="925"/>
                </a:cubicBezTo>
                <a:cubicBezTo>
                  <a:pt x="33" y="870"/>
                  <a:pt x="13" y="811"/>
                  <a:pt x="11" y="751"/>
                </a:cubicBezTo>
                <a:cubicBezTo>
                  <a:pt x="7" y="768"/>
                  <a:pt x="4" y="785"/>
                  <a:pt x="3" y="802"/>
                </a:cubicBezTo>
                <a:cubicBezTo>
                  <a:pt x="0" y="834"/>
                  <a:pt x="4" y="864"/>
                  <a:pt x="7" y="893"/>
                </a:cubicBezTo>
                <a:cubicBezTo>
                  <a:pt x="8" y="898"/>
                  <a:pt x="9" y="904"/>
                  <a:pt x="9" y="909"/>
                </a:cubicBezTo>
                <a:cubicBezTo>
                  <a:pt x="22" y="1021"/>
                  <a:pt x="22" y="1021"/>
                  <a:pt x="22" y="1021"/>
                </a:cubicBezTo>
                <a:cubicBezTo>
                  <a:pt x="23" y="1025"/>
                  <a:pt x="23" y="1029"/>
                  <a:pt x="24" y="1033"/>
                </a:cubicBezTo>
                <a:cubicBezTo>
                  <a:pt x="25" y="1048"/>
                  <a:pt x="27" y="1064"/>
                  <a:pt x="30" y="1080"/>
                </a:cubicBezTo>
                <a:cubicBezTo>
                  <a:pt x="34" y="1101"/>
                  <a:pt x="40" y="1121"/>
                  <a:pt x="47" y="1140"/>
                </a:cubicBezTo>
                <a:cubicBezTo>
                  <a:pt x="61" y="1175"/>
                  <a:pt x="80" y="1208"/>
                  <a:pt x="103" y="1239"/>
                </a:cubicBezTo>
                <a:cubicBezTo>
                  <a:pt x="146" y="1295"/>
                  <a:pt x="202" y="1344"/>
                  <a:pt x="275" y="1390"/>
                </a:cubicBezTo>
                <a:cubicBezTo>
                  <a:pt x="304" y="1409"/>
                  <a:pt x="335" y="1426"/>
                  <a:pt x="366" y="1441"/>
                </a:cubicBezTo>
                <a:close/>
                <a:moveTo>
                  <a:pt x="64" y="773"/>
                </a:moveTo>
                <a:cubicBezTo>
                  <a:pt x="67" y="798"/>
                  <a:pt x="74" y="823"/>
                  <a:pt x="84" y="848"/>
                </a:cubicBezTo>
                <a:cubicBezTo>
                  <a:pt x="107" y="785"/>
                  <a:pt x="165" y="713"/>
                  <a:pt x="209" y="677"/>
                </a:cubicBezTo>
                <a:cubicBezTo>
                  <a:pt x="272" y="628"/>
                  <a:pt x="353" y="583"/>
                  <a:pt x="451" y="545"/>
                </a:cubicBezTo>
                <a:cubicBezTo>
                  <a:pt x="515" y="521"/>
                  <a:pt x="582" y="501"/>
                  <a:pt x="652" y="486"/>
                </a:cubicBezTo>
                <a:cubicBezTo>
                  <a:pt x="652" y="314"/>
                  <a:pt x="652" y="314"/>
                  <a:pt x="652" y="314"/>
                </a:cubicBezTo>
                <a:cubicBezTo>
                  <a:pt x="640" y="317"/>
                  <a:pt x="627" y="320"/>
                  <a:pt x="615" y="323"/>
                </a:cubicBezTo>
                <a:cubicBezTo>
                  <a:pt x="544" y="340"/>
                  <a:pt x="476" y="361"/>
                  <a:pt x="413" y="386"/>
                </a:cubicBezTo>
                <a:cubicBezTo>
                  <a:pt x="345" y="413"/>
                  <a:pt x="288" y="442"/>
                  <a:pt x="238" y="474"/>
                </a:cubicBezTo>
                <a:cubicBezTo>
                  <a:pt x="204" y="496"/>
                  <a:pt x="178" y="516"/>
                  <a:pt x="153" y="537"/>
                </a:cubicBezTo>
                <a:cubicBezTo>
                  <a:pt x="142" y="547"/>
                  <a:pt x="131" y="556"/>
                  <a:pt x="122" y="566"/>
                </a:cubicBezTo>
                <a:cubicBezTo>
                  <a:pt x="81" y="622"/>
                  <a:pt x="60" y="684"/>
                  <a:pt x="62" y="747"/>
                </a:cubicBezTo>
                <a:cubicBezTo>
                  <a:pt x="62" y="756"/>
                  <a:pt x="63" y="764"/>
                  <a:pt x="64" y="773"/>
                </a:cubicBezTo>
                <a:close/>
                <a:moveTo>
                  <a:pt x="1928" y="693"/>
                </a:moveTo>
                <a:cubicBezTo>
                  <a:pt x="1966" y="727"/>
                  <a:pt x="2007" y="795"/>
                  <a:pt x="2021" y="856"/>
                </a:cubicBezTo>
                <a:cubicBezTo>
                  <a:pt x="2034" y="828"/>
                  <a:pt x="2042" y="798"/>
                  <a:pt x="2045" y="768"/>
                </a:cubicBezTo>
                <a:cubicBezTo>
                  <a:pt x="2046" y="761"/>
                  <a:pt x="2047" y="754"/>
                  <a:pt x="2047" y="747"/>
                </a:cubicBezTo>
                <a:cubicBezTo>
                  <a:pt x="2049" y="670"/>
                  <a:pt x="2018" y="595"/>
                  <a:pt x="1958" y="530"/>
                </a:cubicBezTo>
                <a:cubicBezTo>
                  <a:pt x="1924" y="501"/>
                  <a:pt x="1884" y="473"/>
                  <a:pt x="1839" y="447"/>
                </a:cubicBezTo>
                <a:cubicBezTo>
                  <a:pt x="1782" y="415"/>
                  <a:pt x="1718" y="387"/>
                  <a:pt x="1639" y="359"/>
                </a:cubicBezTo>
                <a:cubicBezTo>
                  <a:pt x="1584" y="340"/>
                  <a:pt x="1524" y="324"/>
                  <a:pt x="1457" y="310"/>
                </a:cubicBezTo>
                <a:cubicBezTo>
                  <a:pt x="1457" y="482"/>
                  <a:pt x="1457" y="482"/>
                  <a:pt x="1457" y="482"/>
                </a:cubicBezTo>
                <a:cubicBezTo>
                  <a:pt x="1542" y="500"/>
                  <a:pt x="1625" y="525"/>
                  <a:pt x="1700" y="556"/>
                </a:cubicBezTo>
                <a:cubicBezTo>
                  <a:pt x="1795" y="595"/>
                  <a:pt x="1871" y="642"/>
                  <a:pt x="1928" y="693"/>
                </a:cubicBezTo>
                <a:close/>
                <a:moveTo>
                  <a:pt x="1054" y="814"/>
                </a:moveTo>
                <a:cubicBezTo>
                  <a:pt x="1186" y="814"/>
                  <a:pt x="1408" y="789"/>
                  <a:pt x="1408" y="696"/>
                </a:cubicBezTo>
                <a:cubicBezTo>
                  <a:pt x="1408" y="118"/>
                  <a:pt x="1408" y="118"/>
                  <a:pt x="1408" y="118"/>
                </a:cubicBezTo>
                <a:cubicBezTo>
                  <a:pt x="1408" y="25"/>
                  <a:pt x="1186" y="0"/>
                  <a:pt x="1054" y="0"/>
                </a:cubicBezTo>
                <a:cubicBezTo>
                  <a:pt x="923" y="0"/>
                  <a:pt x="701" y="25"/>
                  <a:pt x="701" y="118"/>
                </a:cubicBezTo>
                <a:cubicBezTo>
                  <a:pt x="701" y="696"/>
                  <a:pt x="701" y="696"/>
                  <a:pt x="701" y="696"/>
                </a:cubicBezTo>
                <a:cubicBezTo>
                  <a:pt x="701" y="789"/>
                  <a:pt x="923" y="814"/>
                  <a:pt x="1054" y="814"/>
                </a:cubicBezTo>
                <a:close/>
                <a:moveTo>
                  <a:pt x="1054" y="35"/>
                </a:moveTo>
                <a:cubicBezTo>
                  <a:pt x="1219" y="35"/>
                  <a:pt x="1352" y="71"/>
                  <a:pt x="1352" y="116"/>
                </a:cubicBezTo>
                <a:cubicBezTo>
                  <a:pt x="1352" y="161"/>
                  <a:pt x="1219" y="197"/>
                  <a:pt x="1054" y="197"/>
                </a:cubicBezTo>
                <a:cubicBezTo>
                  <a:pt x="890" y="197"/>
                  <a:pt x="757" y="161"/>
                  <a:pt x="757" y="116"/>
                </a:cubicBezTo>
                <a:cubicBezTo>
                  <a:pt x="757" y="71"/>
                  <a:pt x="890" y="35"/>
                  <a:pt x="1054" y="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1717" tIns="30858" rIns="61717" bIns="30858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2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3" name="Freeform 84"/>
          <p:cNvSpPr>
            <a:spLocks noEditPoints="1"/>
          </p:cNvSpPr>
          <p:nvPr/>
        </p:nvSpPr>
        <p:spPr bwMode="black">
          <a:xfrm>
            <a:off x="5825990" y="2486588"/>
            <a:ext cx="540020" cy="646469"/>
          </a:xfrm>
          <a:custGeom>
            <a:avLst/>
            <a:gdLst>
              <a:gd name="T0" fmla="*/ 604 w 1838"/>
              <a:gd name="T1" fmla="*/ 253 h 2192"/>
              <a:gd name="T2" fmla="*/ 1159 w 1838"/>
              <a:gd name="T3" fmla="*/ 963 h 2192"/>
              <a:gd name="T4" fmla="*/ 1105 w 1838"/>
              <a:gd name="T5" fmla="*/ 573 h 2192"/>
              <a:gd name="T6" fmla="*/ 214 w 1838"/>
              <a:gd name="T7" fmla="*/ 0 h 2192"/>
              <a:gd name="T8" fmla="*/ 1159 w 1838"/>
              <a:gd name="T9" fmla="*/ 694 h 2192"/>
              <a:gd name="T10" fmla="*/ 1088 w 1838"/>
              <a:gd name="T11" fmla="*/ 764 h 2192"/>
              <a:gd name="T12" fmla="*/ 284 w 1838"/>
              <a:gd name="T13" fmla="*/ 198 h 2192"/>
              <a:gd name="T14" fmla="*/ 214 w 1838"/>
              <a:gd name="T15" fmla="*/ 128 h 2192"/>
              <a:gd name="T16" fmla="*/ 1443 w 1838"/>
              <a:gd name="T17" fmla="*/ 262 h 2192"/>
              <a:gd name="T18" fmla="*/ 1309 w 1838"/>
              <a:gd name="T19" fmla="*/ 1063 h 2192"/>
              <a:gd name="T20" fmla="*/ 903 w 1838"/>
              <a:gd name="T21" fmla="*/ 764 h 2192"/>
              <a:gd name="T22" fmla="*/ 639 w 1838"/>
              <a:gd name="T23" fmla="*/ 952 h 2192"/>
              <a:gd name="T24" fmla="*/ 704 w 1838"/>
              <a:gd name="T25" fmla="*/ 1683 h 2192"/>
              <a:gd name="T26" fmla="*/ 767 w 1838"/>
              <a:gd name="T27" fmla="*/ 1191 h 2192"/>
              <a:gd name="T28" fmla="*/ 1683 w 1838"/>
              <a:gd name="T29" fmla="*/ 390 h 2192"/>
              <a:gd name="T30" fmla="*/ 1443 w 1838"/>
              <a:gd name="T31" fmla="*/ 134 h 2192"/>
              <a:gd name="T32" fmla="*/ 960 w 1838"/>
              <a:gd name="T33" fmla="*/ 198 h 2192"/>
              <a:gd name="T34" fmla="*/ 704 w 1838"/>
              <a:gd name="T35" fmla="*/ 1555 h 2192"/>
              <a:gd name="T36" fmla="*/ 775 w 1838"/>
              <a:gd name="T37" fmla="*/ 1484 h 2192"/>
              <a:gd name="T38" fmla="*/ 704 w 1838"/>
              <a:gd name="T39" fmla="*/ 694 h 2192"/>
              <a:gd name="T40" fmla="*/ 1631 w 1838"/>
              <a:gd name="T41" fmla="*/ 128 h 2192"/>
              <a:gd name="T42" fmla="*/ 1560 w 1838"/>
              <a:gd name="T43" fmla="*/ 198 h 2192"/>
              <a:gd name="T44" fmla="*/ 1230 w 1838"/>
              <a:gd name="T45" fmla="*/ 198 h 2192"/>
              <a:gd name="T46" fmla="*/ 1159 w 1838"/>
              <a:gd name="T47" fmla="*/ 128 h 2192"/>
              <a:gd name="T48" fmla="*/ 1823 w 1838"/>
              <a:gd name="T49" fmla="*/ 1484 h 2192"/>
              <a:gd name="T50" fmla="*/ 1553 w 1838"/>
              <a:gd name="T51" fmla="*/ 1670 h 2192"/>
              <a:gd name="T52" fmla="*/ 1362 w 1838"/>
              <a:gd name="T53" fmla="*/ 1922 h 2192"/>
              <a:gd name="T54" fmla="*/ 1177 w 1838"/>
              <a:gd name="T55" fmla="*/ 2192 h 2192"/>
              <a:gd name="T56" fmla="*/ 1639 w 1838"/>
              <a:gd name="T57" fmla="*/ 2192 h 2192"/>
              <a:gd name="T58" fmla="*/ 1177 w 1838"/>
              <a:gd name="T59" fmla="*/ 2064 h 2192"/>
              <a:gd name="T60" fmla="*/ 1247 w 1838"/>
              <a:gd name="T61" fmla="*/ 1993 h 2192"/>
              <a:gd name="T62" fmla="*/ 1695 w 1838"/>
              <a:gd name="T63" fmla="*/ 1484 h 2192"/>
              <a:gd name="T64" fmla="*/ 1624 w 1838"/>
              <a:gd name="T65" fmla="*/ 1414 h 2192"/>
              <a:gd name="T66" fmla="*/ 1639 w 1838"/>
              <a:gd name="T67" fmla="*/ 1922 h 2192"/>
              <a:gd name="T68" fmla="*/ 1133 w 1838"/>
              <a:gd name="T69" fmla="*/ 1678 h 2192"/>
              <a:gd name="T70" fmla="*/ 1177 w 1838"/>
              <a:gd name="T71" fmla="*/ 1286 h 2192"/>
              <a:gd name="T72" fmla="*/ 807 w 1838"/>
              <a:gd name="T73" fmla="*/ 1823 h 2192"/>
              <a:gd name="T74" fmla="*/ 384 w 1838"/>
              <a:gd name="T75" fmla="*/ 1922 h 2192"/>
              <a:gd name="T76" fmla="*/ 412 w 1838"/>
              <a:gd name="T77" fmla="*/ 764 h 2192"/>
              <a:gd name="T78" fmla="*/ 157 w 1838"/>
              <a:gd name="T79" fmla="*/ 955 h 2192"/>
              <a:gd name="T80" fmla="*/ 199 w 1838"/>
              <a:gd name="T81" fmla="*/ 2192 h 2192"/>
              <a:gd name="T82" fmla="*/ 704 w 1838"/>
              <a:gd name="T83" fmla="*/ 2192 h 2192"/>
              <a:gd name="T84" fmla="*/ 1133 w 1838"/>
              <a:gd name="T85" fmla="*/ 1678 h 2192"/>
              <a:gd name="T86" fmla="*/ 1177 w 1838"/>
              <a:gd name="T87" fmla="*/ 1555 h 2192"/>
              <a:gd name="T88" fmla="*/ 199 w 1838"/>
              <a:gd name="T89" fmla="*/ 2064 h 2192"/>
              <a:gd name="T90" fmla="*/ 270 w 1838"/>
              <a:gd name="T91" fmla="*/ 1993 h 2192"/>
              <a:gd name="T92" fmla="*/ 143 w 1838"/>
              <a:gd name="T93" fmla="*/ 764 h 2192"/>
              <a:gd name="T94" fmla="*/ 214 w 1838"/>
              <a:gd name="T95" fmla="*/ 835 h 2192"/>
              <a:gd name="T96" fmla="*/ 704 w 1838"/>
              <a:gd name="T97" fmla="*/ 1922 h 2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38" h="2192">
                <a:moveTo>
                  <a:pt x="214" y="397"/>
                </a:moveTo>
                <a:cubicBezTo>
                  <a:pt x="304" y="397"/>
                  <a:pt x="381" y="336"/>
                  <a:pt x="405" y="253"/>
                </a:cubicBezTo>
                <a:cubicBezTo>
                  <a:pt x="604" y="253"/>
                  <a:pt x="604" y="253"/>
                  <a:pt x="604" y="253"/>
                </a:cubicBezTo>
                <a:cubicBezTo>
                  <a:pt x="998" y="647"/>
                  <a:pt x="998" y="647"/>
                  <a:pt x="998" y="647"/>
                </a:cubicBezTo>
                <a:cubicBezTo>
                  <a:pt x="974" y="680"/>
                  <a:pt x="960" y="720"/>
                  <a:pt x="960" y="764"/>
                </a:cubicBezTo>
                <a:cubicBezTo>
                  <a:pt x="960" y="874"/>
                  <a:pt x="1049" y="963"/>
                  <a:pt x="1159" y="963"/>
                </a:cubicBezTo>
                <a:cubicBezTo>
                  <a:pt x="1268" y="963"/>
                  <a:pt x="1358" y="874"/>
                  <a:pt x="1358" y="764"/>
                </a:cubicBezTo>
                <a:cubicBezTo>
                  <a:pt x="1358" y="655"/>
                  <a:pt x="1268" y="566"/>
                  <a:pt x="1159" y="566"/>
                </a:cubicBezTo>
                <a:cubicBezTo>
                  <a:pt x="1140" y="566"/>
                  <a:pt x="1122" y="568"/>
                  <a:pt x="1105" y="573"/>
                </a:cubicBezTo>
                <a:cubicBezTo>
                  <a:pt x="657" y="125"/>
                  <a:pt x="657" y="125"/>
                  <a:pt x="657" y="125"/>
                </a:cubicBezTo>
                <a:cubicBezTo>
                  <a:pt x="398" y="125"/>
                  <a:pt x="398" y="125"/>
                  <a:pt x="398" y="125"/>
                </a:cubicBezTo>
                <a:cubicBezTo>
                  <a:pt x="369" y="51"/>
                  <a:pt x="297" y="0"/>
                  <a:pt x="214" y="0"/>
                </a:cubicBezTo>
                <a:cubicBezTo>
                  <a:pt x="104" y="0"/>
                  <a:pt x="15" y="89"/>
                  <a:pt x="15" y="198"/>
                </a:cubicBezTo>
                <a:cubicBezTo>
                  <a:pt x="15" y="308"/>
                  <a:pt x="104" y="397"/>
                  <a:pt x="214" y="397"/>
                </a:cubicBezTo>
                <a:close/>
                <a:moveTo>
                  <a:pt x="1159" y="694"/>
                </a:moveTo>
                <a:cubicBezTo>
                  <a:pt x="1198" y="694"/>
                  <a:pt x="1230" y="725"/>
                  <a:pt x="1230" y="764"/>
                </a:cubicBezTo>
                <a:cubicBezTo>
                  <a:pt x="1230" y="803"/>
                  <a:pt x="1198" y="835"/>
                  <a:pt x="1159" y="835"/>
                </a:cubicBezTo>
                <a:cubicBezTo>
                  <a:pt x="1120" y="835"/>
                  <a:pt x="1088" y="803"/>
                  <a:pt x="1088" y="764"/>
                </a:cubicBezTo>
                <a:cubicBezTo>
                  <a:pt x="1088" y="725"/>
                  <a:pt x="1120" y="694"/>
                  <a:pt x="1159" y="694"/>
                </a:cubicBezTo>
                <a:close/>
                <a:moveTo>
                  <a:pt x="214" y="128"/>
                </a:moveTo>
                <a:cubicBezTo>
                  <a:pt x="253" y="128"/>
                  <a:pt x="284" y="159"/>
                  <a:pt x="284" y="198"/>
                </a:cubicBezTo>
                <a:cubicBezTo>
                  <a:pt x="284" y="237"/>
                  <a:pt x="253" y="269"/>
                  <a:pt x="214" y="269"/>
                </a:cubicBezTo>
                <a:cubicBezTo>
                  <a:pt x="175" y="269"/>
                  <a:pt x="143" y="237"/>
                  <a:pt x="143" y="198"/>
                </a:cubicBezTo>
                <a:cubicBezTo>
                  <a:pt x="143" y="159"/>
                  <a:pt x="175" y="128"/>
                  <a:pt x="214" y="128"/>
                </a:cubicBezTo>
                <a:close/>
                <a:moveTo>
                  <a:pt x="1159" y="397"/>
                </a:moveTo>
                <a:cubicBezTo>
                  <a:pt x="1246" y="397"/>
                  <a:pt x="1320" y="341"/>
                  <a:pt x="1347" y="262"/>
                </a:cubicBezTo>
                <a:cubicBezTo>
                  <a:pt x="1443" y="262"/>
                  <a:pt x="1443" y="262"/>
                  <a:pt x="1443" y="262"/>
                </a:cubicBezTo>
                <a:cubicBezTo>
                  <a:pt x="1461" y="317"/>
                  <a:pt x="1503" y="360"/>
                  <a:pt x="1555" y="382"/>
                </a:cubicBezTo>
                <a:cubicBezTo>
                  <a:pt x="1555" y="817"/>
                  <a:pt x="1555" y="817"/>
                  <a:pt x="1555" y="817"/>
                </a:cubicBezTo>
                <a:cubicBezTo>
                  <a:pt x="1309" y="1063"/>
                  <a:pt x="1309" y="1063"/>
                  <a:pt x="1309" y="1063"/>
                </a:cubicBezTo>
                <a:cubicBezTo>
                  <a:pt x="767" y="1063"/>
                  <a:pt x="767" y="1063"/>
                  <a:pt x="767" y="1063"/>
                </a:cubicBezTo>
                <a:cubicBezTo>
                  <a:pt x="767" y="953"/>
                  <a:pt x="767" y="953"/>
                  <a:pt x="767" y="953"/>
                </a:cubicBezTo>
                <a:cubicBezTo>
                  <a:pt x="846" y="927"/>
                  <a:pt x="903" y="852"/>
                  <a:pt x="903" y="764"/>
                </a:cubicBezTo>
                <a:cubicBezTo>
                  <a:pt x="903" y="655"/>
                  <a:pt x="814" y="566"/>
                  <a:pt x="704" y="566"/>
                </a:cubicBezTo>
                <a:cubicBezTo>
                  <a:pt x="595" y="566"/>
                  <a:pt x="506" y="655"/>
                  <a:pt x="506" y="764"/>
                </a:cubicBezTo>
                <a:cubicBezTo>
                  <a:pt x="506" y="851"/>
                  <a:pt x="561" y="925"/>
                  <a:pt x="639" y="952"/>
                </a:cubicBezTo>
                <a:cubicBezTo>
                  <a:pt x="639" y="1297"/>
                  <a:pt x="639" y="1297"/>
                  <a:pt x="639" y="1297"/>
                </a:cubicBezTo>
                <a:cubicBezTo>
                  <a:pt x="561" y="1324"/>
                  <a:pt x="506" y="1398"/>
                  <a:pt x="506" y="1484"/>
                </a:cubicBezTo>
                <a:cubicBezTo>
                  <a:pt x="506" y="1594"/>
                  <a:pt x="595" y="1683"/>
                  <a:pt x="704" y="1683"/>
                </a:cubicBezTo>
                <a:cubicBezTo>
                  <a:pt x="814" y="1683"/>
                  <a:pt x="903" y="1594"/>
                  <a:pt x="903" y="1484"/>
                </a:cubicBezTo>
                <a:cubicBezTo>
                  <a:pt x="903" y="1397"/>
                  <a:pt x="846" y="1322"/>
                  <a:pt x="767" y="1296"/>
                </a:cubicBezTo>
                <a:cubicBezTo>
                  <a:pt x="767" y="1191"/>
                  <a:pt x="767" y="1191"/>
                  <a:pt x="767" y="1191"/>
                </a:cubicBezTo>
                <a:cubicBezTo>
                  <a:pt x="1362" y="1191"/>
                  <a:pt x="1362" y="1191"/>
                  <a:pt x="1362" y="1191"/>
                </a:cubicBezTo>
                <a:cubicBezTo>
                  <a:pt x="1683" y="870"/>
                  <a:pt x="1683" y="870"/>
                  <a:pt x="1683" y="870"/>
                </a:cubicBezTo>
                <a:cubicBezTo>
                  <a:pt x="1683" y="390"/>
                  <a:pt x="1683" y="390"/>
                  <a:pt x="1683" y="390"/>
                </a:cubicBezTo>
                <a:cubicBezTo>
                  <a:pt x="1768" y="367"/>
                  <a:pt x="1830" y="290"/>
                  <a:pt x="1830" y="198"/>
                </a:cubicBezTo>
                <a:cubicBezTo>
                  <a:pt x="1830" y="89"/>
                  <a:pt x="1740" y="0"/>
                  <a:pt x="1631" y="0"/>
                </a:cubicBezTo>
                <a:cubicBezTo>
                  <a:pt x="1544" y="0"/>
                  <a:pt x="1469" y="56"/>
                  <a:pt x="1443" y="134"/>
                </a:cubicBezTo>
                <a:cubicBezTo>
                  <a:pt x="1347" y="134"/>
                  <a:pt x="1347" y="134"/>
                  <a:pt x="1347" y="134"/>
                </a:cubicBezTo>
                <a:cubicBezTo>
                  <a:pt x="1320" y="56"/>
                  <a:pt x="1246" y="0"/>
                  <a:pt x="1159" y="0"/>
                </a:cubicBezTo>
                <a:cubicBezTo>
                  <a:pt x="1049" y="0"/>
                  <a:pt x="960" y="89"/>
                  <a:pt x="960" y="198"/>
                </a:cubicBezTo>
                <a:cubicBezTo>
                  <a:pt x="960" y="308"/>
                  <a:pt x="1049" y="397"/>
                  <a:pt x="1159" y="397"/>
                </a:cubicBezTo>
                <a:close/>
                <a:moveTo>
                  <a:pt x="775" y="1484"/>
                </a:moveTo>
                <a:cubicBezTo>
                  <a:pt x="775" y="1523"/>
                  <a:pt x="743" y="1555"/>
                  <a:pt x="704" y="1555"/>
                </a:cubicBezTo>
                <a:cubicBezTo>
                  <a:pt x="665" y="1555"/>
                  <a:pt x="634" y="1523"/>
                  <a:pt x="634" y="1484"/>
                </a:cubicBezTo>
                <a:cubicBezTo>
                  <a:pt x="634" y="1445"/>
                  <a:pt x="665" y="1414"/>
                  <a:pt x="704" y="1414"/>
                </a:cubicBezTo>
                <a:cubicBezTo>
                  <a:pt x="743" y="1414"/>
                  <a:pt x="775" y="1445"/>
                  <a:pt x="775" y="1484"/>
                </a:cubicBezTo>
                <a:close/>
                <a:moveTo>
                  <a:pt x="704" y="835"/>
                </a:moveTo>
                <a:cubicBezTo>
                  <a:pt x="665" y="835"/>
                  <a:pt x="634" y="803"/>
                  <a:pt x="634" y="764"/>
                </a:cubicBezTo>
                <a:cubicBezTo>
                  <a:pt x="634" y="725"/>
                  <a:pt x="665" y="694"/>
                  <a:pt x="704" y="694"/>
                </a:cubicBezTo>
                <a:cubicBezTo>
                  <a:pt x="743" y="694"/>
                  <a:pt x="775" y="725"/>
                  <a:pt x="775" y="764"/>
                </a:cubicBezTo>
                <a:cubicBezTo>
                  <a:pt x="775" y="803"/>
                  <a:pt x="743" y="835"/>
                  <a:pt x="704" y="835"/>
                </a:cubicBezTo>
                <a:close/>
                <a:moveTo>
                  <a:pt x="1631" y="128"/>
                </a:moveTo>
                <a:cubicBezTo>
                  <a:pt x="1670" y="128"/>
                  <a:pt x="1702" y="159"/>
                  <a:pt x="1702" y="198"/>
                </a:cubicBezTo>
                <a:cubicBezTo>
                  <a:pt x="1702" y="237"/>
                  <a:pt x="1670" y="269"/>
                  <a:pt x="1631" y="269"/>
                </a:cubicBezTo>
                <a:cubicBezTo>
                  <a:pt x="1592" y="269"/>
                  <a:pt x="1560" y="237"/>
                  <a:pt x="1560" y="198"/>
                </a:cubicBezTo>
                <a:cubicBezTo>
                  <a:pt x="1560" y="159"/>
                  <a:pt x="1592" y="128"/>
                  <a:pt x="1631" y="128"/>
                </a:cubicBezTo>
                <a:close/>
                <a:moveTo>
                  <a:pt x="1159" y="128"/>
                </a:moveTo>
                <a:cubicBezTo>
                  <a:pt x="1198" y="128"/>
                  <a:pt x="1230" y="159"/>
                  <a:pt x="1230" y="198"/>
                </a:cubicBezTo>
                <a:cubicBezTo>
                  <a:pt x="1230" y="237"/>
                  <a:pt x="1198" y="269"/>
                  <a:pt x="1159" y="269"/>
                </a:cubicBezTo>
                <a:cubicBezTo>
                  <a:pt x="1120" y="269"/>
                  <a:pt x="1088" y="237"/>
                  <a:pt x="1088" y="198"/>
                </a:cubicBezTo>
                <a:cubicBezTo>
                  <a:pt x="1088" y="159"/>
                  <a:pt x="1120" y="128"/>
                  <a:pt x="1159" y="128"/>
                </a:cubicBezTo>
                <a:close/>
                <a:moveTo>
                  <a:pt x="1681" y="1799"/>
                </a:moveTo>
                <a:cubicBezTo>
                  <a:pt x="1681" y="1675"/>
                  <a:pt x="1681" y="1675"/>
                  <a:pt x="1681" y="1675"/>
                </a:cubicBezTo>
                <a:cubicBezTo>
                  <a:pt x="1763" y="1650"/>
                  <a:pt x="1823" y="1574"/>
                  <a:pt x="1823" y="1484"/>
                </a:cubicBezTo>
                <a:cubicBezTo>
                  <a:pt x="1823" y="1375"/>
                  <a:pt x="1734" y="1286"/>
                  <a:pt x="1624" y="1286"/>
                </a:cubicBezTo>
                <a:cubicBezTo>
                  <a:pt x="1514" y="1286"/>
                  <a:pt x="1425" y="1375"/>
                  <a:pt x="1425" y="1484"/>
                </a:cubicBezTo>
                <a:cubicBezTo>
                  <a:pt x="1425" y="1569"/>
                  <a:pt x="1478" y="1641"/>
                  <a:pt x="1553" y="1670"/>
                </a:cubicBezTo>
                <a:cubicBezTo>
                  <a:pt x="1553" y="1814"/>
                  <a:pt x="1553" y="1814"/>
                  <a:pt x="1553" y="1814"/>
                </a:cubicBezTo>
                <a:cubicBezTo>
                  <a:pt x="1507" y="1836"/>
                  <a:pt x="1472" y="1874"/>
                  <a:pt x="1453" y="1922"/>
                </a:cubicBezTo>
                <a:cubicBezTo>
                  <a:pt x="1362" y="1922"/>
                  <a:pt x="1362" y="1922"/>
                  <a:pt x="1362" y="1922"/>
                </a:cubicBezTo>
                <a:cubicBezTo>
                  <a:pt x="1333" y="1847"/>
                  <a:pt x="1261" y="1794"/>
                  <a:pt x="1177" y="1794"/>
                </a:cubicBezTo>
                <a:cubicBezTo>
                  <a:pt x="1067" y="1794"/>
                  <a:pt x="978" y="1883"/>
                  <a:pt x="978" y="1993"/>
                </a:cubicBezTo>
                <a:cubicBezTo>
                  <a:pt x="978" y="2103"/>
                  <a:pt x="1067" y="2192"/>
                  <a:pt x="1177" y="2192"/>
                </a:cubicBezTo>
                <a:cubicBezTo>
                  <a:pt x="1266" y="2192"/>
                  <a:pt x="1343" y="2132"/>
                  <a:pt x="1367" y="2050"/>
                </a:cubicBezTo>
                <a:cubicBezTo>
                  <a:pt x="1448" y="2050"/>
                  <a:pt x="1448" y="2050"/>
                  <a:pt x="1448" y="2050"/>
                </a:cubicBezTo>
                <a:cubicBezTo>
                  <a:pt x="1473" y="2132"/>
                  <a:pt x="1549" y="2192"/>
                  <a:pt x="1639" y="2192"/>
                </a:cubicBezTo>
                <a:cubicBezTo>
                  <a:pt x="1748" y="2192"/>
                  <a:pt x="1838" y="2103"/>
                  <a:pt x="1838" y="1993"/>
                </a:cubicBezTo>
                <a:cubicBezTo>
                  <a:pt x="1838" y="1898"/>
                  <a:pt x="1770" y="1818"/>
                  <a:pt x="1681" y="1799"/>
                </a:cubicBezTo>
                <a:close/>
                <a:moveTo>
                  <a:pt x="1177" y="2064"/>
                </a:moveTo>
                <a:cubicBezTo>
                  <a:pt x="1138" y="2064"/>
                  <a:pt x="1106" y="2032"/>
                  <a:pt x="1106" y="1993"/>
                </a:cubicBezTo>
                <a:cubicBezTo>
                  <a:pt x="1106" y="1954"/>
                  <a:pt x="1138" y="1922"/>
                  <a:pt x="1177" y="1922"/>
                </a:cubicBezTo>
                <a:cubicBezTo>
                  <a:pt x="1216" y="1922"/>
                  <a:pt x="1247" y="1954"/>
                  <a:pt x="1247" y="1993"/>
                </a:cubicBezTo>
                <a:cubicBezTo>
                  <a:pt x="1247" y="2032"/>
                  <a:pt x="1216" y="2064"/>
                  <a:pt x="1177" y="2064"/>
                </a:cubicBezTo>
                <a:close/>
                <a:moveTo>
                  <a:pt x="1624" y="1414"/>
                </a:moveTo>
                <a:cubicBezTo>
                  <a:pt x="1663" y="1414"/>
                  <a:pt x="1695" y="1445"/>
                  <a:pt x="1695" y="1484"/>
                </a:cubicBezTo>
                <a:cubicBezTo>
                  <a:pt x="1695" y="1523"/>
                  <a:pt x="1663" y="1555"/>
                  <a:pt x="1624" y="1555"/>
                </a:cubicBezTo>
                <a:cubicBezTo>
                  <a:pt x="1585" y="1555"/>
                  <a:pt x="1553" y="1523"/>
                  <a:pt x="1553" y="1484"/>
                </a:cubicBezTo>
                <a:cubicBezTo>
                  <a:pt x="1553" y="1445"/>
                  <a:pt x="1585" y="1414"/>
                  <a:pt x="1624" y="1414"/>
                </a:cubicBezTo>
                <a:close/>
                <a:moveTo>
                  <a:pt x="1639" y="2064"/>
                </a:moveTo>
                <a:cubicBezTo>
                  <a:pt x="1600" y="2064"/>
                  <a:pt x="1568" y="2032"/>
                  <a:pt x="1568" y="1993"/>
                </a:cubicBezTo>
                <a:cubicBezTo>
                  <a:pt x="1568" y="1954"/>
                  <a:pt x="1600" y="1922"/>
                  <a:pt x="1639" y="1922"/>
                </a:cubicBezTo>
                <a:cubicBezTo>
                  <a:pt x="1678" y="1922"/>
                  <a:pt x="1710" y="1954"/>
                  <a:pt x="1710" y="1993"/>
                </a:cubicBezTo>
                <a:cubicBezTo>
                  <a:pt x="1710" y="2032"/>
                  <a:pt x="1678" y="2064"/>
                  <a:pt x="1639" y="2064"/>
                </a:cubicBezTo>
                <a:close/>
                <a:moveTo>
                  <a:pt x="1133" y="1678"/>
                </a:moveTo>
                <a:cubicBezTo>
                  <a:pt x="1147" y="1681"/>
                  <a:pt x="1162" y="1683"/>
                  <a:pt x="1177" y="1683"/>
                </a:cubicBezTo>
                <a:cubicBezTo>
                  <a:pt x="1286" y="1683"/>
                  <a:pt x="1375" y="1594"/>
                  <a:pt x="1375" y="1484"/>
                </a:cubicBezTo>
                <a:cubicBezTo>
                  <a:pt x="1375" y="1375"/>
                  <a:pt x="1286" y="1286"/>
                  <a:pt x="1177" y="1286"/>
                </a:cubicBezTo>
                <a:cubicBezTo>
                  <a:pt x="1067" y="1286"/>
                  <a:pt x="978" y="1375"/>
                  <a:pt x="978" y="1484"/>
                </a:cubicBezTo>
                <a:cubicBezTo>
                  <a:pt x="978" y="1531"/>
                  <a:pt x="994" y="1575"/>
                  <a:pt x="1022" y="1609"/>
                </a:cubicBezTo>
                <a:cubicBezTo>
                  <a:pt x="807" y="1823"/>
                  <a:pt x="807" y="1823"/>
                  <a:pt x="807" y="1823"/>
                </a:cubicBezTo>
                <a:cubicBezTo>
                  <a:pt x="777" y="1805"/>
                  <a:pt x="742" y="1794"/>
                  <a:pt x="704" y="1794"/>
                </a:cubicBezTo>
                <a:cubicBezTo>
                  <a:pt x="620" y="1794"/>
                  <a:pt x="548" y="1847"/>
                  <a:pt x="519" y="1922"/>
                </a:cubicBezTo>
                <a:cubicBezTo>
                  <a:pt x="384" y="1922"/>
                  <a:pt x="384" y="1922"/>
                  <a:pt x="384" y="1922"/>
                </a:cubicBezTo>
                <a:cubicBezTo>
                  <a:pt x="366" y="1874"/>
                  <a:pt x="330" y="1836"/>
                  <a:pt x="285" y="1814"/>
                </a:cubicBezTo>
                <a:cubicBezTo>
                  <a:pt x="285" y="950"/>
                  <a:pt x="285" y="950"/>
                  <a:pt x="285" y="950"/>
                </a:cubicBezTo>
                <a:cubicBezTo>
                  <a:pt x="359" y="921"/>
                  <a:pt x="412" y="849"/>
                  <a:pt x="412" y="764"/>
                </a:cubicBezTo>
                <a:cubicBezTo>
                  <a:pt x="412" y="655"/>
                  <a:pt x="323" y="566"/>
                  <a:pt x="214" y="566"/>
                </a:cubicBezTo>
                <a:cubicBezTo>
                  <a:pt x="104" y="566"/>
                  <a:pt x="15" y="655"/>
                  <a:pt x="15" y="764"/>
                </a:cubicBezTo>
                <a:cubicBezTo>
                  <a:pt x="15" y="854"/>
                  <a:pt x="75" y="930"/>
                  <a:pt x="157" y="955"/>
                </a:cubicBezTo>
                <a:cubicBezTo>
                  <a:pt x="157" y="1799"/>
                  <a:pt x="157" y="1799"/>
                  <a:pt x="157" y="1799"/>
                </a:cubicBezTo>
                <a:cubicBezTo>
                  <a:pt x="67" y="1818"/>
                  <a:pt x="0" y="1898"/>
                  <a:pt x="0" y="1993"/>
                </a:cubicBezTo>
                <a:cubicBezTo>
                  <a:pt x="0" y="2103"/>
                  <a:pt x="89" y="2192"/>
                  <a:pt x="199" y="2192"/>
                </a:cubicBezTo>
                <a:cubicBezTo>
                  <a:pt x="289" y="2192"/>
                  <a:pt x="365" y="2132"/>
                  <a:pt x="389" y="2050"/>
                </a:cubicBezTo>
                <a:cubicBezTo>
                  <a:pt x="514" y="2050"/>
                  <a:pt x="514" y="2050"/>
                  <a:pt x="514" y="2050"/>
                </a:cubicBezTo>
                <a:cubicBezTo>
                  <a:pt x="538" y="2132"/>
                  <a:pt x="615" y="2192"/>
                  <a:pt x="704" y="2192"/>
                </a:cubicBezTo>
                <a:cubicBezTo>
                  <a:pt x="814" y="2192"/>
                  <a:pt x="903" y="2103"/>
                  <a:pt x="903" y="1993"/>
                </a:cubicBezTo>
                <a:cubicBezTo>
                  <a:pt x="903" y="1968"/>
                  <a:pt x="898" y="1944"/>
                  <a:pt x="890" y="1922"/>
                </a:cubicBezTo>
                <a:lnTo>
                  <a:pt x="1133" y="1678"/>
                </a:lnTo>
                <a:close/>
                <a:moveTo>
                  <a:pt x="1177" y="1414"/>
                </a:moveTo>
                <a:cubicBezTo>
                  <a:pt x="1216" y="1414"/>
                  <a:pt x="1247" y="1445"/>
                  <a:pt x="1247" y="1484"/>
                </a:cubicBezTo>
                <a:cubicBezTo>
                  <a:pt x="1247" y="1523"/>
                  <a:pt x="1216" y="1555"/>
                  <a:pt x="1177" y="1555"/>
                </a:cubicBezTo>
                <a:cubicBezTo>
                  <a:pt x="1138" y="1555"/>
                  <a:pt x="1106" y="1523"/>
                  <a:pt x="1106" y="1484"/>
                </a:cubicBezTo>
                <a:cubicBezTo>
                  <a:pt x="1106" y="1445"/>
                  <a:pt x="1138" y="1414"/>
                  <a:pt x="1177" y="1414"/>
                </a:cubicBezTo>
                <a:close/>
                <a:moveTo>
                  <a:pt x="199" y="2064"/>
                </a:moveTo>
                <a:cubicBezTo>
                  <a:pt x="160" y="2064"/>
                  <a:pt x="128" y="2032"/>
                  <a:pt x="128" y="1993"/>
                </a:cubicBezTo>
                <a:cubicBezTo>
                  <a:pt x="128" y="1954"/>
                  <a:pt x="160" y="1922"/>
                  <a:pt x="199" y="1922"/>
                </a:cubicBezTo>
                <a:cubicBezTo>
                  <a:pt x="238" y="1922"/>
                  <a:pt x="270" y="1954"/>
                  <a:pt x="270" y="1993"/>
                </a:cubicBezTo>
                <a:cubicBezTo>
                  <a:pt x="270" y="2032"/>
                  <a:pt x="238" y="2064"/>
                  <a:pt x="199" y="2064"/>
                </a:cubicBezTo>
                <a:close/>
                <a:moveTo>
                  <a:pt x="214" y="835"/>
                </a:moveTo>
                <a:cubicBezTo>
                  <a:pt x="175" y="835"/>
                  <a:pt x="143" y="803"/>
                  <a:pt x="143" y="764"/>
                </a:cubicBezTo>
                <a:cubicBezTo>
                  <a:pt x="143" y="725"/>
                  <a:pt x="175" y="694"/>
                  <a:pt x="214" y="694"/>
                </a:cubicBezTo>
                <a:cubicBezTo>
                  <a:pt x="253" y="694"/>
                  <a:pt x="284" y="725"/>
                  <a:pt x="284" y="764"/>
                </a:cubicBezTo>
                <a:cubicBezTo>
                  <a:pt x="284" y="803"/>
                  <a:pt x="253" y="835"/>
                  <a:pt x="214" y="835"/>
                </a:cubicBezTo>
                <a:close/>
                <a:moveTo>
                  <a:pt x="704" y="2064"/>
                </a:moveTo>
                <a:cubicBezTo>
                  <a:pt x="665" y="2064"/>
                  <a:pt x="634" y="2032"/>
                  <a:pt x="634" y="1993"/>
                </a:cubicBezTo>
                <a:cubicBezTo>
                  <a:pt x="634" y="1954"/>
                  <a:pt x="665" y="1922"/>
                  <a:pt x="704" y="1922"/>
                </a:cubicBezTo>
                <a:cubicBezTo>
                  <a:pt x="743" y="1922"/>
                  <a:pt x="775" y="1954"/>
                  <a:pt x="775" y="1993"/>
                </a:cubicBezTo>
                <a:cubicBezTo>
                  <a:pt x="775" y="2032"/>
                  <a:pt x="743" y="2064"/>
                  <a:pt x="704" y="20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200" dirty="0">
              <a:solidFill>
                <a:srgbClr val="FFFFFF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395595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8" grpId="0" animBg="1"/>
      <p:bldP spid="62" grpId="0" animBg="1"/>
      <p:bldP spid="70" grpId="0" animBg="1"/>
      <p:bldP spid="7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-2" y="2529000"/>
            <a:ext cx="12192002" cy="1800000"/>
          </a:xfrm>
          <a:prstGeom prst="rect">
            <a:avLst/>
          </a:prstGeom>
          <a:solidFill>
            <a:srgbClr val="4B89F0">
              <a:alpha val="3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-1" y="2529000"/>
            <a:ext cx="1800000" cy="1800000"/>
          </a:xfrm>
          <a:prstGeom prst="rect">
            <a:avLst/>
          </a:prstGeom>
          <a:solidFill>
            <a:srgbClr val="9240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3793190" y="2967468"/>
            <a:ext cx="46056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关键技术</a:t>
            </a:r>
            <a:endParaRPr kumimoji="1" lang="zh-CN" altLang="en-US" sz="5400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10" name="Freeform 73"/>
          <p:cNvSpPr>
            <a:spLocks noEditPoints="1"/>
          </p:cNvSpPr>
          <p:nvPr/>
        </p:nvSpPr>
        <p:spPr bwMode="black">
          <a:xfrm>
            <a:off x="348456" y="2896698"/>
            <a:ext cx="1103085" cy="1064602"/>
          </a:xfrm>
          <a:custGeom>
            <a:avLst/>
            <a:gdLst>
              <a:gd name="T0" fmla="*/ 1799 w 2278"/>
              <a:gd name="T1" fmla="*/ 879 h 2201"/>
              <a:gd name="T2" fmla="*/ 1711 w 2278"/>
              <a:gd name="T3" fmla="*/ 335 h 2201"/>
              <a:gd name="T4" fmla="*/ 1363 w 2278"/>
              <a:gd name="T5" fmla="*/ 315 h 2201"/>
              <a:gd name="T6" fmla="*/ 1068 w 2278"/>
              <a:gd name="T7" fmla="*/ 0 h 2201"/>
              <a:gd name="T8" fmla="*/ 810 w 2278"/>
              <a:gd name="T9" fmla="*/ 412 h 2201"/>
              <a:gd name="T10" fmla="*/ 408 w 2278"/>
              <a:gd name="T11" fmla="*/ 325 h 2201"/>
              <a:gd name="T12" fmla="*/ 246 w 2278"/>
              <a:gd name="T13" fmla="*/ 841 h 2201"/>
              <a:gd name="T14" fmla="*/ 0 w 2278"/>
              <a:gd name="T15" fmla="*/ 1138 h 2201"/>
              <a:gd name="T16" fmla="*/ 338 w 2278"/>
              <a:gd name="T17" fmla="*/ 1396 h 2201"/>
              <a:gd name="T18" fmla="*/ 166 w 2278"/>
              <a:gd name="T19" fmla="*/ 1885 h 2201"/>
              <a:gd name="T20" fmla="*/ 769 w 2278"/>
              <a:gd name="T21" fmla="*/ 1966 h 2201"/>
              <a:gd name="T22" fmla="*/ 1053 w 2278"/>
              <a:gd name="T23" fmla="*/ 2200 h 2201"/>
              <a:gd name="T24" fmla="*/ 1081 w 2278"/>
              <a:gd name="T25" fmla="*/ 2201 h 2201"/>
              <a:gd name="T26" fmla="*/ 1184 w 2278"/>
              <a:gd name="T27" fmla="*/ 1949 h 2201"/>
              <a:gd name="T28" fmla="*/ 1666 w 2278"/>
              <a:gd name="T29" fmla="*/ 1872 h 2201"/>
              <a:gd name="T30" fmla="*/ 1874 w 2278"/>
              <a:gd name="T31" fmla="*/ 1743 h 2201"/>
              <a:gd name="T32" fmla="*/ 2060 w 2278"/>
              <a:gd name="T33" fmla="*/ 1273 h 2201"/>
              <a:gd name="T34" fmla="*/ 1940 w 2278"/>
              <a:gd name="T35" fmla="*/ 1369 h 2201"/>
              <a:gd name="T36" fmla="*/ 1385 w 2278"/>
              <a:gd name="T37" fmla="*/ 1279 h 2201"/>
              <a:gd name="T38" fmla="*/ 1837 w 2278"/>
              <a:gd name="T39" fmla="*/ 1733 h 2201"/>
              <a:gd name="T40" fmla="*/ 1302 w 2278"/>
              <a:gd name="T41" fmla="*/ 1393 h 2201"/>
              <a:gd name="T42" fmla="*/ 1433 w 2278"/>
              <a:gd name="T43" fmla="*/ 1759 h 2201"/>
              <a:gd name="T44" fmla="*/ 1193 w 2278"/>
              <a:gd name="T45" fmla="*/ 1461 h 2201"/>
              <a:gd name="T46" fmla="*/ 1156 w 2278"/>
              <a:gd name="T47" fmla="*/ 1924 h 2201"/>
              <a:gd name="T48" fmla="*/ 1053 w 2278"/>
              <a:gd name="T49" fmla="*/ 1484 h 2201"/>
              <a:gd name="T50" fmla="*/ 878 w 2278"/>
              <a:gd name="T51" fmla="*/ 1857 h 2201"/>
              <a:gd name="T52" fmla="*/ 804 w 2278"/>
              <a:gd name="T53" fmla="*/ 1753 h 2201"/>
              <a:gd name="T54" fmla="*/ 438 w 2278"/>
              <a:gd name="T55" fmla="*/ 1789 h 2201"/>
              <a:gd name="T56" fmla="*/ 369 w 2278"/>
              <a:gd name="T57" fmla="*/ 1741 h 2201"/>
              <a:gd name="T58" fmla="*/ 551 w 2278"/>
              <a:gd name="T59" fmla="*/ 1362 h 2201"/>
              <a:gd name="T60" fmla="*/ 447 w 2278"/>
              <a:gd name="T61" fmla="*/ 1287 h 2201"/>
              <a:gd name="T62" fmla="*/ 723 w 2278"/>
              <a:gd name="T63" fmla="*/ 1153 h 2201"/>
              <a:gd name="T64" fmla="*/ 253 w 2278"/>
              <a:gd name="T65" fmla="*/ 1023 h 2201"/>
              <a:gd name="T66" fmla="*/ 745 w 2278"/>
              <a:gd name="T67" fmla="*/ 1014 h 2201"/>
              <a:gd name="T68" fmla="*/ 386 w 2278"/>
              <a:gd name="T69" fmla="*/ 736 h 2201"/>
              <a:gd name="T70" fmla="*/ 813 w 2278"/>
              <a:gd name="T71" fmla="*/ 904 h 2201"/>
              <a:gd name="T72" fmla="*/ 701 w 2278"/>
              <a:gd name="T73" fmla="*/ 530 h 2201"/>
              <a:gd name="T74" fmla="*/ 944 w 2278"/>
              <a:gd name="T75" fmla="*/ 815 h 2201"/>
              <a:gd name="T76" fmla="*/ 996 w 2278"/>
              <a:gd name="T77" fmla="*/ 287 h 2201"/>
              <a:gd name="T78" fmla="*/ 1083 w 2278"/>
              <a:gd name="T79" fmla="*/ 792 h 2201"/>
              <a:gd name="T80" fmla="*/ 1253 w 2278"/>
              <a:gd name="T81" fmla="*/ 424 h 2201"/>
              <a:gd name="T82" fmla="*/ 1331 w 2278"/>
              <a:gd name="T83" fmla="*/ 529 h 2201"/>
              <a:gd name="T84" fmla="*/ 1558 w 2278"/>
              <a:gd name="T85" fmla="*/ 488 h 2201"/>
              <a:gd name="T86" fmla="*/ 1618 w 2278"/>
              <a:gd name="T87" fmla="*/ 610 h 2201"/>
              <a:gd name="T88" fmla="*/ 1586 w 2278"/>
              <a:gd name="T89" fmla="*/ 914 h 2201"/>
              <a:gd name="T90" fmla="*/ 1690 w 2278"/>
              <a:gd name="T91" fmla="*/ 989 h 2201"/>
              <a:gd name="T92" fmla="*/ 1414 w 2278"/>
              <a:gd name="T93" fmla="*/ 1123 h 2201"/>
              <a:gd name="T94" fmla="*/ 2028 w 2278"/>
              <a:gd name="T95" fmla="*/ 1253 h 2201"/>
              <a:gd name="T96" fmla="*/ 1292 w 2278"/>
              <a:gd name="T97" fmla="*/ 936 h 2201"/>
              <a:gd name="T98" fmla="*/ 1083 w 2278"/>
              <a:gd name="T99" fmla="*/ 837 h 2201"/>
              <a:gd name="T100" fmla="*/ 945 w 2278"/>
              <a:gd name="T101" fmla="*/ 863 h 2201"/>
              <a:gd name="T102" fmla="*/ 787 w 2278"/>
              <a:gd name="T103" fmla="*/ 1031 h 2201"/>
              <a:gd name="T104" fmla="*/ 787 w 2278"/>
              <a:gd name="T105" fmla="*/ 1245 h 2201"/>
              <a:gd name="T106" fmla="*/ 945 w 2278"/>
              <a:gd name="T107" fmla="*/ 1412 h 2201"/>
              <a:gd name="T108" fmla="*/ 1083 w 2278"/>
              <a:gd name="T109" fmla="*/ 1439 h 2201"/>
              <a:gd name="T110" fmla="*/ 1292 w 2278"/>
              <a:gd name="T111" fmla="*/ 1340 h 2201"/>
              <a:gd name="T112" fmla="*/ 1370 w 2278"/>
              <a:gd name="T113" fmla="*/ 1138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78" h="2201">
                <a:moveTo>
                  <a:pt x="2125" y="983"/>
                </a:moveTo>
                <a:cubicBezTo>
                  <a:pt x="2074" y="983"/>
                  <a:pt x="2030" y="1007"/>
                  <a:pt x="2002" y="1045"/>
                </a:cubicBezTo>
                <a:cubicBezTo>
                  <a:pt x="1787" y="929"/>
                  <a:pt x="1787" y="929"/>
                  <a:pt x="1787" y="929"/>
                </a:cubicBezTo>
                <a:cubicBezTo>
                  <a:pt x="1795" y="914"/>
                  <a:pt x="1799" y="897"/>
                  <a:pt x="1799" y="879"/>
                </a:cubicBezTo>
                <a:cubicBezTo>
                  <a:pt x="1799" y="828"/>
                  <a:pt x="1764" y="785"/>
                  <a:pt x="1715" y="773"/>
                </a:cubicBezTo>
                <a:cubicBezTo>
                  <a:pt x="1729" y="640"/>
                  <a:pt x="1729" y="640"/>
                  <a:pt x="1729" y="640"/>
                </a:cubicBezTo>
                <a:cubicBezTo>
                  <a:pt x="1805" y="630"/>
                  <a:pt x="1863" y="566"/>
                  <a:pt x="1863" y="488"/>
                </a:cubicBezTo>
                <a:cubicBezTo>
                  <a:pt x="1863" y="404"/>
                  <a:pt x="1795" y="335"/>
                  <a:pt x="1711" y="335"/>
                </a:cubicBezTo>
                <a:cubicBezTo>
                  <a:pt x="1645" y="335"/>
                  <a:pt x="1589" y="377"/>
                  <a:pt x="1567" y="435"/>
                </a:cubicBezTo>
                <a:cubicBezTo>
                  <a:pt x="1472" y="427"/>
                  <a:pt x="1472" y="427"/>
                  <a:pt x="1472" y="427"/>
                </a:cubicBezTo>
                <a:cubicBezTo>
                  <a:pt x="1472" y="426"/>
                  <a:pt x="1472" y="425"/>
                  <a:pt x="1472" y="424"/>
                </a:cubicBezTo>
                <a:cubicBezTo>
                  <a:pt x="1472" y="364"/>
                  <a:pt x="1423" y="315"/>
                  <a:pt x="1363" y="315"/>
                </a:cubicBezTo>
                <a:cubicBezTo>
                  <a:pt x="1334" y="315"/>
                  <a:pt x="1309" y="326"/>
                  <a:pt x="1289" y="343"/>
                </a:cubicBezTo>
                <a:cubicBezTo>
                  <a:pt x="1187" y="250"/>
                  <a:pt x="1187" y="250"/>
                  <a:pt x="1187" y="250"/>
                </a:cubicBezTo>
                <a:cubicBezTo>
                  <a:pt x="1208" y="223"/>
                  <a:pt x="1221" y="190"/>
                  <a:pt x="1221" y="153"/>
                </a:cubicBezTo>
                <a:cubicBezTo>
                  <a:pt x="1221" y="69"/>
                  <a:pt x="1153" y="0"/>
                  <a:pt x="1068" y="0"/>
                </a:cubicBezTo>
                <a:cubicBezTo>
                  <a:pt x="984" y="0"/>
                  <a:pt x="916" y="69"/>
                  <a:pt x="916" y="153"/>
                </a:cubicBezTo>
                <a:cubicBezTo>
                  <a:pt x="916" y="197"/>
                  <a:pt x="935" y="237"/>
                  <a:pt x="965" y="265"/>
                </a:cubicBezTo>
                <a:cubicBezTo>
                  <a:pt x="856" y="422"/>
                  <a:pt x="856" y="422"/>
                  <a:pt x="856" y="422"/>
                </a:cubicBezTo>
                <a:cubicBezTo>
                  <a:pt x="842" y="416"/>
                  <a:pt x="827" y="412"/>
                  <a:pt x="810" y="412"/>
                </a:cubicBezTo>
                <a:cubicBezTo>
                  <a:pt x="760" y="412"/>
                  <a:pt x="717" y="446"/>
                  <a:pt x="705" y="493"/>
                </a:cubicBezTo>
                <a:cubicBezTo>
                  <a:pt x="561" y="480"/>
                  <a:pt x="561" y="480"/>
                  <a:pt x="561" y="480"/>
                </a:cubicBezTo>
                <a:cubicBezTo>
                  <a:pt x="561" y="480"/>
                  <a:pt x="561" y="479"/>
                  <a:pt x="561" y="478"/>
                </a:cubicBezTo>
                <a:cubicBezTo>
                  <a:pt x="561" y="394"/>
                  <a:pt x="493" y="325"/>
                  <a:pt x="408" y="325"/>
                </a:cubicBezTo>
                <a:cubicBezTo>
                  <a:pt x="324" y="325"/>
                  <a:pt x="256" y="394"/>
                  <a:pt x="256" y="478"/>
                </a:cubicBezTo>
                <a:cubicBezTo>
                  <a:pt x="256" y="546"/>
                  <a:pt x="300" y="603"/>
                  <a:pt x="362" y="623"/>
                </a:cubicBezTo>
                <a:cubicBezTo>
                  <a:pt x="348" y="732"/>
                  <a:pt x="348" y="732"/>
                  <a:pt x="348" y="732"/>
                </a:cubicBezTo>
                <a:cubicBezTo>
                  <a:pt x="291" y="736"/>
                  <a:pt x="246" y="783"/>
                  <a:pt x="246" y="841"/>
                </a:cubicBezTo>
                <a:cubicBezTo>
                  <a:pt x="246" y="873"/>
                  <a:pt x="259" y="901"/>
                  <a:pt x="281" y="921"/>
                </a:cubicBezTo>
                <a:cubicBezTo>
                  <a:pt x="221" y="1002"/>
                  <a:pt x="221" y="1002"/>
                  <a:pt x="221" y="1002"/>
                </a:cubicBezTo>
                <a:cubicBezTo>
                  <a:pt x="201" y="991"/>
                  <a:pt x="177" y="985"/>
                  <a:pt x="153" y="985"/>
                </a:cubicBezTo>
                <a:cubicBezTo>
                  <a:pt x="68" y="985"/>
                  <a:pt x="0" y="1054"/>
                  <a:pt x="0" y="1138"/>
                </a:cubicBezTo>
                <a:cubicBezTo>
                  <a:pt x="0" y="1222"/>
                  <a:pt x="68" y="1291"/>
                  <a:pt x="153" y="1291"/>
                </a:cubicBezTo>
                <a:cubicBezTo>
                  <a:pt x="190" y="1291"/>
                  <a:pt x="225" y="1277"/>
                  <a:pt x="251" y="1254"/>
                </a:cubicBezTo>
                <a:cubicBezTo>
                  <a:pt x="354" y="1339"/>
                  <a:pt x="354" y="1339"/>
                  <a:pt x="354" y="1339"/>
                </a:cubicBezTo>
                <a:cubicBezTo>
                  <a:pt x="344" y="1356"/>
                  <a:pt x="338" y="1375"/>
                  <a:pt x="338" y="1396"/>
                </a:cubicBezTo>
                <a:cubicBezTo>
                  <a:pt x="338" y="1436"/>
                  <a:pt x="359" y="1471"/>
                  <a:pt x="392" y="1490"/>
                </a:cubicBezTo>
                <a:cubicBezTo>
                  <a:pt x="332" y="1733"/>
                  <a:pt x="332" y="1733"/>
                  <a:pt x="332" y="1733"/>
                </a:cubicBezTo>
                <a:cubicBezTo>
                  <a:pt x="328" y="1732"/>
                  <a:pt x="323" y="1732"/>
                  <a:pt x="319" y="1732"/>
                </a:cubicBezTo>
                <a:cubicBezTo>
                  <a:pt x="235" y="1732"/>
                  <a:pt x="166" y="1800"/>
                  <a:pt x="166" y="1885"/>
                </a:cubicBezTo>
                <a:cubicBezTo>
                  <a:pt x="166" y="1969"/>
                  <a:pt x="235" y="2038"/>
                  <a:pt x="319" y="2038"/>
                </a:cubicBezTo>
                <a:cubicBezTo>
                  <a:pt x="399" y="2038"/>
                  <a:pt x="464" y="1977"/>
                  <a:pt x="471" y="1899"/>
                </a:cubicBezTo>
                <a:cubicBezTo>
                  <a:pt x="664" y="1884"/>
                  <a:pt x="664" y="1884"/>
                  <a:pt x="664" y="1884"/>
                </a:cubicBezTo>
                <a:cubicBezTo>
                  <a:pt x="676" y="1931"/>
                  <a:pt x="718" y="1966"/>
                  <a:pt x="769" y="1966"/>
                </a:cubicBezTo>
                <a:cubicBezTo>
                  <a:pt x="802" y="1966"/>
                  <a:pt x="832" y="1951"/>
                  <a:pt x="852" y="1928"/>
                </a:cubicBezTo>
                <a:cubicBezTo>
                  <a:pt x="931" y="1982"/>
                  <a:pt x="931" y="1982"/>
                  <a:pt x="931" y="1982"/>
                </a:cubicBezTo>
                <a:cubicBezTo>
                  <a:pt x="921" y="2002"/>
                  <a:pt x="916" y="2024"/>
                  <a:pt x="916" y="2049"/>
                </a:cubicBezTo>
                <a:cubicBezTo>
                  <a:pt x="916" y="2128"/>
                  <a:pt x="976" y="2193"/>
                  <a:pt x="1053" y="2200"/>
                </a:cubicBezTo>
                <a:cubicBezTo>
                  <a:pt x="1053" y="2201"/>
                  <a:pt x="1053" y="2201"/>
                  <a:pt x="1053" y="2201"/>
                </a:cubicBezTo>
                <a:cubicBezTo>
                  <a:pt x="1056" y="2201"/>
                  <a:pt x="1056" y="2201"/>
                  <a:pt x="1056" y="2201"/>
                </a:cubicBezTo>
                <a:cubicBezTo>
                  <a:pt x="1060" y="2201"/>
                  <a:pt x="1064" y="2201"/>
                  <a:pt x="1068" y="2201"/>
                </a:cubicBezTo>
                <a:cubicBezTo>
                  <a:pt x="1073" y="2201"/>
                  <a:pt x="1077" y="2201"/>
                  <a:pt x="1081" y="2201"/>
                </a:cubicBezTo>
                <a:cubicBezTo>
                  <a:pt x="1083" y="2201"/>
                  <a:pt x="1083" y="2201"/>
                  <a:pt x="1083" y="2201"/>
                </a:cubicBezTo>
                <a:cubicBezTo>
                  <a:pt x="1083" y="2201"/>
                  <a:pt x="1083" y="2201"/>
                  <a:pt x="1083" y="2201"/>
                </a:cubicBezTo>
                <a:cubicBezTo>
                  <a:pt x="1161" y="2193"/>
                  <a:pt x="1221" y="2128"/>
                  <a:pt x="1221" y="2049"/>
                </a:cubicBezTo>
                <a:cubicBezTo>
                  <a:pt x="1221" y="2011"/>
                  <a:pt x="1207" y="1976"/>
                  <a:pt x="1184" y="1949"/>
                </a:cubicBezTo>
                <a:cubicBezTo>
                  <a:pt x="1268" y="1853"/>
                  <a:pt x="1268" y="1853"/>
                  <a:pt x="1268" y="1853"/>
                </a:cubicBezTo>
                <a:cubicBezTo>
                  <a:pt x="1285" y="1863"/>
                  <a:pt x="1304" y="1869"/>
                  <a:pt x="1324" y="1869"/>
                </a:cubicBezTo>
                <a:cubicBezTo>
                  <a:pt x="1364" y="1869"/>
                  <a:pt x="1399" y="1847"/>
                  <a:pt x="1418" y="1815"/>
                </a:cubicBezTo>
                <a:cubicBezTo>
                  <a:pt x="1666" y="1872"/>
                  <a:pt x="1666" y="1872"/>
                  <a:pt x="1666" y="1872"/>
                </a:cubicBezTo>
                <a:cubicBezTo>
                  <a:pt x="1665" y="1876"/>
                  <a:pt x="1665" y="1880"/>
                  <a:pt x="1665" y="1885"/>
                </a:cubicBezTo>
                <a:cubicBezTo>
                  <a:pt x="1665" y="1969"/>
                  <a:pt x="1734" y="2038"/>
                  <a:pt x="1818" y="2038"/>
                </a:cubicBezTo>
                <a:cubicBezTo>
                  <a:pt x="1902" y="2038"/>
                  <a:pt x="1971" y="1969"/>
                  <a:pt x="1971" y="1885"/>
                </a:cubicBezTo>
                <a:cubicBezTo>
                  <a:pt x="1971" y="1820"/>
                  <a:pt x="1931" y="1765"/>
                  <a:pt x="1874" y="1743"/>
                </a:cubicBezTo>
                <a:cubicBezTo>
                  <a:pt x="1893" y="1572"/>
                  <a:pt x="1893" y="1572"/>
                  <a:pt x="1893" y="1572"/>
                </a:cubicBezTo>
                <a:cubicBezTo>
                  <a:pt x="1949" y="1567"/>
                  <a:pt x="1994" y="1520"/>
                  <a:pt x="1994" y="1463"/>
                </a:cubicBezTo>
                <a:cubicBezTo>
                  <a:pt x="1994" y="1436"/>
                  <a:pt x="1984" y="1412"/>
                  <a:pt x="1969" y="1393"/>
                </a:cubicBezTo>
                <a:cubicBezTo>
                  <a:pt x="2060" y="1273"/>
                  <a:pt x="2060" y="1273"/>
                  <a:pt x="2060" y="1273"/>
                </a:cubicBezTo>
                <a:cubicBezTo>
                  <a:pt x="2080" y="1283"/>
                  <a:pt x="2102" y="1288"/>
                  <a:pt x="2125" y="1288"/>
                </a:cubicBezTo>
                <a:cubicBezTo>
                  <a:pt x="2209" y="1288"/>
                  <a:pt x="2278" y="1220"/>
                  <a:pt x="2278" y="1135"/>
                </a:cubicBezTo>
                <a:cubicBezTo>
                  <a:pt x="2278" y="1051"/>
                  <a:pt x="2209" y="983"/>
                  <a:pt x="2125" y="983"/>
                </a:cubicBezTo>
                <a:close/>
                <a:moveTo>
                  <a:pt x="1940" y="1369"/>
                </a:moveTo>
                <a:cubicBezTo>
                  <a:pt x="1924" y="1359"/>
                  <a:pt x="1905" y="1353"/>
                  <a:pt x="1884" y="1353"/>
                </a:cubicBezTo>
                <a:cubicBezTo>
                  <a:pt x="1838" y="1353"/>
                  <a:pt x="1798" y="1383"/>
                  <a:pt x="1782" y="1424"/>
                </a:cubicBezTo>
                <a:cubicBezTo>
                  <a:pt x="1392" y="1262"/>
                  <a:pt x="1392" y="1262"/>
                  <a:pt x="1392" y="1262"/>
                </a:cubicBezTo>
                <a:cubicBezTo>
                  <a:pt x="1390" y="1268"/>
                  <a:pt x="1387" y="1273"/>
                  <a:pt x="1385" y="1279"/>
                </a:cubicBezTo>
                <a:cubicBezTo>
                  <a:pt x="1777" y="1441"/>
                  <a:pt x="1777" y="1441"/>
                  <a:pt x="1777" y="1441"/>
                </a:cubicBezTo>
                <a:cubicBezTo>
                  <a:pt x="1776" y="1448"/>
                  <a:pt x="1775" y="1455"/>
                  <a:pt x="1775" y="1463"/>
                </a:cubicBezTo>
                <a:cubicBezTo>
                  <a:pt x="1775" y="1513"/>
                  <a:pt x="1809" y="1555"/>
                  <a:pt x="1855" y="1568"/>
                </a:cubicBezTo>
                <a:cubicBezTo>
                  <a:pt x="1837" y="1733"/>
                  <a:pt x="1837" y="1733"/>
                  <a:pt x="1837" y="1733"/>
                </a:cubicBezTo>
                <a:cubicBezTo>
                  <a:pt x="1831" y="1733"/>
                  <a:pt x="1825" y="1732"/>
                  <a:pt x="1818" y="1732"/>
                </a:cubicBezTo>
                <a:cubicBezTo>
                  <a:pt x="1781" y="1732"/>
                  <a:pt x="1746" y="1746"/>
                  <a:pt x="1720" y="1768"/>
                </a:cubicBezTo>
                <a:cubicBezTo>
                  <a:pt x="1324" y="1372"/>
                  <a:pt x="1324" y="1372"/>
                  <a:pt x="1324" y="1372"/>
                </a:cubicBezTo>
                <a:cubicBezTo>
                  <a:pt x="1317" y="1379"/>
                  <a:pt x="1310" y="1386"/>
                  <a:pt x="1302" y="1393"/>
                </a:cubicBezTo>
                <a:cubicBezTo>
                  <a:pt x="1699" y="1789"/>
                  <a:pt x="1699" y="1789"/>
                  <a:pt x="1699" y="1789"/>
                </a:cubicBezTo>
                <a:cubicBezTo>
                  <a:pt x="1688" y="1803"/>
                  <a:pt x="1679" y="1818"/>
                  <a:pt x="1674" y="1835"/>
                </a:cubicBezTo>
                <a:cubicBezTo>
                  <a:pt x="1432" y="1779"/>
                  <a:pt x="1432" y="1779"/>
                  <a:pt x="1432" y="1779"/>
                </a:cubicBezTo>
                <a:cubicBezTo>
                  <a:pt x="1433" y="1773"/>
                  <a:pt x="1433" y="1766"/>
                  <a:pt x="1433" y="1759"/>
                </a:cubicBezTo>
                <a:cubicBezTo>
                  <a:pt x="1433" y="1699"/>
                  <a:pt x="1385" y="1650"/>
                  <a:pt x="1324" y="1650"/>
                </a:cubicBezTo>
                <a:cubicBezTo>
                  <a:pt x="1313" y="1650"/>
                  <a:pt x="1302" y="1652"/>
                  <a:pt x="1292" y="1655"/>
                </a:cubicBezTo>
                <a:cubicBezTo>
                  <a:pt x="1209" y="1454"/>
                  <a:pt x="1209" y="1454"/>
                  <a:pt x="1209" y="1454"/>
                </a:cubicBezTo>
                <a:cubicBezTo>
                  <a:pt x="1204" y="1457"/>
                  <a:pt x="1198" y="1459"/>
                  <a:pt x="1193" y="1461"/>
                </a:cubicBezTo>
                <a:cubicBezTo>
                  <a:pt x="1276" y="1662"/>
                  <a:pt x="1276" y="1662"/>
                  <a:pt x="1276" y="1662"/>
                </a:cubicBezTo>
                <a:cubicBezTo>
                  <a:pt x="1240" y="1680"/>
                  <a:pt x="1215" y="1717"/>
                  <a:pt x="1215" y="1759"/>
                </a:cubicBezTo>
                <a:cubicBezTo>
                  <a:pt x="1215" y="1786"/>
                  <a:pt x="1224" y="1810"/>
                  <a:pt x="1240" y="1828"/>
                </a:cubicBezTo>
                <a:cubicBezTo>
                  <a:pt x="1156" y="1924"/>
                  <a:pt x="1156" y="1924"/>
                  <a:pt x="1156" y="1924"/>
                </a:cubicBezTo>
                <a:cubicBezTo>
                  <a:pt x="1135" y="1909"/>
                  <a:pt x="1110" y="1899"/>
                  <a:pt x="1083" y="1897"/>
                </a:cubicBezTo>
                <a:cubicBezTo>
                  <a:pt x="1083" y="1484"/>
                  <a:pt x="1083" y="1484"/>
                  <a:pt x="1083" y="1484"/>
                </a:cubicBezTo>
                <a:cubicBezTo>
                  <a:pt x="1078" y="1484"/>
                  <a:pt x="1073" y="1484"/>
                  <a:pt x="1068" y="1484"/>
                </a:cubicBezTo>
                <a:cubicBezTo>
                  <a:pt x="1063" y="1484"/>
                  <a:pt x="1058" y="1484"/>
                  <a:pt x="1053" y="1484"/>
                </a:cubicBezTo>
                <a:cubicBezTo>
                  <a:pt x="1053" y="1897"/>
                  <a:pt x="1053" y="1897"/>
                  <a:pt x="1053" y="1897"/>
                </a:cubicBezTo>
                <a:cubicBezTo>
                  <a:pt x="1013" y="1901"/>
                  <a:pt x="977" y="1920"/>
                  <a:pt x="952" y="1950"/>
                </a:cubicBezTo>
                <a:cubicBezTo>
                  <a:pt x="871" y="1895"/>
                  <a:pt x="871" y="1895"/>
                  <a:pt x="871" y="1895"/>
                </a:cubicBezTo>
                <a:cubicBezTo>
                  <a:pt x="876" y="1883"/>
                  <a:pt x="878" y="1870"/>
                  <a:pt x="878" y="1857"/>
                </a:cubicBezTo>
                <a:cubicBezTo>
                  <a:pt x="878" y="1815"/>
                  <a:pt x="855" y="1779"/>
                  <a:pt x="820" y="1760"/>
                </a:cubicBezTo>
                <a:cubicBezTo>
                  <a:pt x="944" y="1461"/>
                  <a:pt x="944" y="1461"/>
                  <a:pt x="944" y="1461"/>
                </a:cubicBezTo>
                <a:cubicBezTo>
                  <a:pt x="939" y="1459"/>
                  <a:pt x="933" y="1457"/>
                  <a:pt x="928" y="1454"/>
                </a:cubicBezTo>
                <a:cubicBezTo>
                  <a:pt x="804" y="1753"/>
                  <a:pt x="804" y="1753"/>
                  <a:pt x="804" y="1753"/>
                </a:cubicBezTo>
                <a:cubicBezTo>
                  <a:pt x="793" y="1749"/>
                  <a:pt x="781" y="1747"/>
                  <a:pt x="769" y="1747"/>
                </a:cubicBezTo>
                <a:cubicBezTo>
                  <a:pt x="712" y="1747"/>
                  <a:pt x="666" y="1791"/>
                  <a:pt x="660" y="1846"/>
                </a:cubicBezTo>
                <a:cubicBezTo>
                  <a:pt x="470" y="1861"/>
                  <a:pt x="470" y="1861"/>
                  <a:pt x="470" y="1861"/>
                </a:cubicBezTo>
                <a:cubicBezTo>
                  <a:pt x="466" y="1834"/>
                  <a:pt x="454" y="1810"/>
                  <a:pt x="438" y="1789"/>
                </a:cubicBezTo>
                <a:cubicBezTo>
                  <a:pt x="835" y="1393"/>
                  <a:pt x="835" y="1393"/>
                  <a:pt x="835" y="1393"/>
                </a:cubicBezTo>
                <a:cubicBezTo>
                  <a:pt x="827" y="1386"/>
                  <a:pt x="820" y="1379"/>
                  <a:pt x="813" y="1372"/>
                </a:cubicBezTo>
                <a:cubicBezTo>
                  <a:pt x="417" y="1768"/>
                  <a:pt x="417" y="1768"/>
                  <a:pt x="417" y="1768"/>
                </a:cubicBezTo>
                <a:cubicBezTo>
                  <a:pt x="403" y="1756"/>
                  <a:pt x="387" y="1747"/>
                  <a:pt x="369" y="1741"/>
                </a:cubicBezTo>
                <a:cubicBezTo>
                  <a:pt x="428" y="1504"/>
                  <a:pt x="428" y="1504"/>
                  <a:pt x="428" y="1504"/>
                </a:cubicBezTo>
                <a:cubicBezTo>
                  <a:pt x="434" y="1505"/>
                  <a:pt x="440" y="1505"/>
                  <a:pt x="447" y="1505"/>
                </a:cubicBezTo>
                <a:cubicBezTo>
                  <a:pt x="507" y="1505"/>
                  <a:pt x="556" y="1457"/>
                  <a:pt x="556" y="1396"/>
                </a:cubicBezTo>
                <a:cubicBezTo>
                  <a:pt x="556" y="1384"/>
                  <a:pt x="554" y="1373"/>
                  <a:pt x="551" y="1362"/>
                </a:cubicBezTo>
                <a:cubicBezTo>
                  <a:pt x="752" y="1279"/>
                  <a:pt x="752" y="1279"/>
                  <a:pt x="752" y="1279"/>
                </a:cubicBezTo>
                <a:cubicBezTo>
                  <a:pt x="750" y="1273"/>
                  <a:pt x="747" y="1268"/>
                  <a:pt x="745" y="1262"/>
                </a:cubicBezTo>
                <a:cubicBezTo>
                  <a:pt x="544" y="1345"/>
                  <a:pt x="544" y="1345"/>
                  <a:pt x="544" y="1345"/>
                </a:cubicBezTo>
                <a:cubicBezTo>
                  <a:pt x="525" y="1311"/>
                  <a:pt x="489" y="1287"/>
                  <a:pt x="447" y="1287"/>
                </a:cubicBezTo>
                <a:cubicBezTo>
                  <a:pt x="421" y="1287"/>
                  <a:pt x="397" y="1296"/>
                  <a:pt x="379" y="1311"/>
                </a:cubicBezTo>
                <a:cubicBezTo>
                  <a:pt x="277" y="1226"/>
                  <a:pt x="277" y="1226"/>
                  <a:pt x="277" y="1226"/>
                </a:cubicBezTo>
                <a:cubicBezTo>
                  <a:pt x="292" y="1205"/>
                  <a:pt x="302" y="1180"/>
                  <a:pt x="305" y="1153"/>
                </a:cubicBezTo>
                <a:cubicBezTo>
                  <a:pt x="723" y="1153"/>
                  <a:pt x="723" y="1153"/>
                  <a:pt x="723" y="1153"/>
                </a:cubicBezTo>
                <a:cubicBezTo>
                  <a:pt x="722" y="1148"/>
                  <a:pt x="722" y="1143"/>
                  <a:pt x="722" y="1138"/>
                </a:cubicBezTo>
                <a:cubicBezTo>
                  <a:pt x="722" y="1133"/>
                  <a:pt x="722" y="1128"/>
                  <a:pt x="723" y="1123"/>
                </a:cubicBezTo>
                <a:cubicBezTo>
                  <a:pt x="305" y="1123"/>
                  <a:pt x="305" y="1123"/>
                  <a:pt x="305" y="1123"/>
                </a:cubicBezTo>
                <a:cubicBezTo>
                  <a:pt x="301" y="1083"/>
                  <a:pt x="281" y="1048"/>
                  <a:pt x="253" y="1023"/>
                </a:cubicBezTo>
                <a:cubicBezTo>
                  <a:pt x="312" y="942"/>
                  <a:pt x="312" y="942"/>
                  <a:pt x="312" y="942"/>
                </a:cubicBezTo>
                <a:cubicBezTo>
                  <a:pt x="325" y="947"/>
                  <a:pt x="340" y="950"/>
                  <a:pt x="355" y="950"/>
                </a:cubicBezTo>
                <a:cubicBezTo>
                  <a:pt x="397" y="950"/>
                  <a:pt x="433" y="927"/>
                  <a:pt x="451" y="892"/>
                </a:cubicBezTo>
                <a:cubicBezTo>
                  <a:pt x="745" y="1014"/>
                  <a:pt x="745" y="1014"/>
                  <a:pt x="745" y="1014"/>
                </a:cubicBezTo>
                <a:cubicBezTo>
                  <a:pt x="747" y="1008"/>
                  <a:pt x="750" y="1003"/>
                  <a:pt x="752" y="997"/>
                </a:cubicBezTo>
                <a:cubicBezTo>
                  <a:pt x="458" y="875"/>
                  <a:pt x="458" y="875"/>
                  <a:pt x="458" y="875"/>
                </a:cubicBezTo>
                <a:cubicBezTo>
                  <a:pt x="462" y="865"/>
                  <a:pt x="464" y="853"/>
                  <a:pt x="464" y="841"/>
                </a:cubicBezTo>
                <a:cubicBezTo>
                  <a:pt x="464" y="792"/>
                  <a:pt x="431" y="750"/>
                  <a:pt x="386" y="736"/>
                </a:cubicBezTo>
                <a:cubicBezTo>
                  <a:pt x="399" y="630"/>
                  <a:pt x="399" y="630"/>
                  <a:pt x="399" y="630"/>
                </a:cubicBezTo>
                <a:cubicBezTo>
                  <a:pt x="402" y="630"/>
                  <a:pt x="405" y="631"/>
                  <a:pt x="408" y="631"/>
                </a:cubicBezTo>
                <a:cubicBezTo>
                  <a:pt x="445" y="631"/>
                  <a:pt x="479" y="618"/>
                  <a:pt x="505" y="596"/>
                </a:cubicBezTo>
                <a:cubicBezTo>
                  <a:pt x="813" y="904"/>
                  <a:pt x="813" y="904"/>
                  <a:pt x="813" y="904"/>
                </a:cubicBezTo>
                <a:cubicBezTo>
                  <a:pt x="820" y="897"/>
                  <a:pt x="827" y="889"/>
                  <a:pt x="835" y="883"/>
                </a:cubicBezTo>
                <a:cubicBezTo>
                  <a:pt x="527" y="575"/>
                  <a:pt x="527" y="575"/>
                  <a:pt x="527" y="575"/>
                </a:cubicBezTo>
                <a:cubicBezTo>
                  <a:pt x="540" y="558"/>
                  <a:pt x="550" y="539"/>
                  <a:pt x="556" y="518"/>
                </a:cubicBezTo>
                <a:cubicBezTo>
                  <a:pt x="701" y="530"/>
                  <a:pt x="701" y="530"/>
                  <a:pt x="701" y="530"/>
                </a:cubicBezTo>
                <a:cubicBezTo>
                  <a:pt x="706" y="587"/>
                  <a:pt x="753" y="631"/>
                  <a:pt x="810" y="631"/>
                </a:cubicBezTo>
                <a:cubicBezTo>
                  <a:pt x="823" y="631"/>
                  <a:pt x="835" y="628"/>
                  <a:pt x="846" y="624"/>
                </a:cubicBezTo>
                <a:cubicBezTo>
                  <a:pt x="928" y="822"/>
                  <a:pt x="928" y="822"/>
                  <a:pt x="928" y="822"/>
                </a:cubicBezTo>
                <a:cubicBezTo>
                  <a:pt x="933" y="819"/>
                  <a:pt x="939" y="817"/>
                  <a:pt x="944" y="815"/>
                </a:cubicBezTo>
                <a:cubicBezTo>
                  <a:pt x="863" y="617"/>
                  <a:pt x="863" y="617"/>
                  <a:pt x="863" y="617"/>
                </a:cubicBezTo>
                <a:cubicBezTo>
                  <a:pt x="896" y="599"/>
                  <a:pt x="919" y="563"/>
                  <a:pt x="919" y="521"/>
                </a:cubicBezTo>
                <a:cubicBezTo>
                  <a:pt x="919" y="491"/>
                  <a:pt x="907" y="464"/>
                  <a:pt x="887" y="444"/>
                </a:cubicBezTo>
                <a:cubicBezTo>
                  <a:pt x="996" y="287"/>
                  <a:pt x="996" y="287"/>
                  <a:pt x="996" y="287"/>
                </a:cubicBezTo>
                <a:cubicBezTo>
                  <a:pt x="1013" y="297"/>
                  <a:pt x="1033" y="303"/>
                  <a:pt x="1053" y="305"/>
                </a:cubicBezTo>
                <a:cubicBezTo>
                  <a:pt x="1053" y="792"/>
                  <a:pt x="1053" y="792"/>
                  <a:pt x="1053" y="792"/>
                </a:cubicBezTo>
                <a:cubicBezTo>
                  <a:pt x="1058" y="792"/>
                  <a:pt x="1063" y="792"/>
                  <a:pt x="1068" y="792"/>
                </a:cubicBezTo>
                <a:cubicBezTo>
                  <a:pt x="1073" y="792"/>
                  <a:pt x="1078" y="792"/>
                  <a:pt x="1083" y="792"/>
                </a:cubicBezTo>
                <a:cubicBezTo>
                  <a:pt x="1083" y="305"/>
                  <a:pt x="1083" y="305"/>
                  <a:pt x="1083" y="305"/>
                </a:cubicBezTo>
                <a:cubicBezTo>
                  <a:pt x="1112" y="302"/>
                  <a:pt x="1138" y="292"/>
                  <a:pt x="1159" y="276"/>
                </a:cubicBezTo>
                <a:cubicBezTo>
                  <a:pt x="1266" y="373"/>
                  <a:pt x="1266" y="373"/>
                  <a:pt x="1266" y="373"/>
                </a:cubicBezTo>
                <a:cubicBezTo>
                  <a:pt x="1258" y="388"/>
                  <a:pt x="1253" y="406"/>
                  <a:pt x="1253" y="424"/>
                </a:cubicBezTo>
                <a:cubicBezTo>
                  <a:pt x="1253" y="467"/>
                  <a:pt x="1278" y="504"/>
                  <a:pt x="1314" y="522"/>
                </a:cubicBezTo>
                <a:cubicBezTo>
                  <a:pt x="1193" y="815"/>
                  <a:pt x="1193" y="815"/>
                  <a:pt x="1193" y="815"/>
                </a:cubicBezTo>
                <a:cubicBezTo>
                  <a:pt x="1198" y="817"/>
                  <a:pt x="1204" y="819"/>
                  <a:pt x="1209" y="822"/>
                </a:cubicBezTo>
                <a:cubicBezTo>
                  <a:pt x="1331" y="529"/>
                  <a:pt x="1331" y="529"/>
                  <a:pt x="1331" y="529"/>
                </a:cubicBezTo>
                <a:cubicBezTo>
                  <a:pt x="1341" y="532"/>
                  <a:pt x="1351" y="533"/>
                  <a:pt x="1363" y="533"/>
                </a:cubicBezTo>
                <a:cubicBezTo>
                  <a:pt x="1409" y="533"/>
                  <a:pt x="1448" y="505"/>
                  <a:pt x="1464" y="464"/>
                </a:cubicBezTo>
                <a:cubicBezTo>
                  <a:pt x="1559" y="472"/>
                  <a:pt x="1559" y="472"/>
                  <a:pt x="1559" y="472"/>
                </a:cubicBezTo>
                <a:cubicBezTo>
                  <a:pt x="1558" y="477"/>
                  <a:pt x="1558" y="483"/>
                  <a:pt x="1558" y="488"/>
                </a:cubicBezTo>
                <a:cubicBezTo>
                  <a:pt x="1558" y="527"/>
                  <a:pt x="1572" y="562"/>
                  <a:pt x="1596" y="589"/>
                </a:cubicBezTo>
                <a:cubicBezTo>
                  <a:pt x="1302" y="883"/>
                  <a:pt x="1302" y="883"/>
                  <a:pt x="1302" y="883"/>
                </a:cubicBezTo>
                <a:cubicBezTo>
                  <a:pt x="1310" y="889"/>
                  <a:pt x="1317" y="897"/>
                  <a:pt x="1324" y="904"/>
                </a:cubicBezTo>
                <a:cubicBezTo>
                  <a:pt x="1618" y="610"/>
                  <a:pt x="1618" y="610"/>
                  <a:pt x="1618" y="610"/>
                </a:cubicBezTo>
                <a:cubicBezTo>
                  <a:pt x="1639" y="625"/>
                  <a:pt x="1664" y="636"/>
                  <a:pt x="1691" y="640"/>
                </a:cubicBezTo>
                <a:cubicBezTo>
                  <a:pt x="1678" y="771"/>
                  <a:pt x="1678" y="771"/>
                  <a:pt x="1678" y="771"/>
                </a:cubicBezTo>
                <a:cubicBezTo>
                  <a:pt x="1623" y="777"/>
                  <a:pt x="1581" y="823"/>
                  <a:pt x="1581" y="879"/>
                </a:cubicBezTo>
                <a:cubicBezTo>
                  <a:pt x="1581" y="891"/>
                  <a:pt x="1583" y="903"/>
                  <a:pt x="1586" y="914"/>
                </a:cubicBezTo>
                <a:cubicBezTo>
                  <a:pt x="1385" y="997"/>
                  <a:pt x="1385" y="997"/>
                  <a:pt x="1385" y="997"/>
                </a:cubicBezTo>
                <a:cubicBezTo>
                  <a:pt x="1387" y="1003"/>
                  <a:pt x="1390" y="1008"/>
                  <a:pt x="1392" y="1014"/>
                </a:cubicBezTo>
                <a:cubicBezTo>
                  <a:pt x="1593" y="930"/>
                  <a:pt x="1593" y="930"/>
                  <a:pt x="1593" y="930"/>
                </a:cubicBezTo>
                <a:cubicBezTo>
                  <a:pt x="1612" y="965"/>
                  <a:pt x="1648" y="989"/>
                  <a:pt x="1690" y="989"/>
                </a:cubicBezTo>
                <a:cubicBezTo>
                  <a:pt x="1719" y="989"/>
                  <a:pt x="1745" y="978"/>
                  <a:pt x="1764" y="960"/>
                </a:cubicBezTo>
                <a:cubicBezTo>
                  <a:pt x="1983" y="1078"/>
                  <a:pt x="1983" y="1078"/>
                  <a:pt x="1983" y="1078"/>
                </a:cubicBezTo>
                <a:cubicBezTo>
                  <a:pt x="1978" y="1092"/>
                  <a:pt x="1974" y="1107"/>
                  <a:pt x="1973" y="1123"/>
                </a:cubicBezTo>
                <a:cubicBezTo>
                  <a:pt x="1414" y="1123"/>
                  <a:pt x="1414" y="1123"/>
                  <a:pt x="1414" y="1123"/>
                </a:cubicBezTo>
                <a:cubicBezTo>
                  <a:pt x="1415" y="1128"/>
                  <a:pt x="1415" y="1133"/>
                  <a:pt x="1415" y="1138"/>
                </a:cubicBezTo>
                <a:cubicBezTo>
                  <a:pt x="1415" y="1143"/>
                  <a:pt x="1415" y="1148"/>
                  <a:pt x="1414" y="1153"/>
                </a:cubicBezTo>
                <a:cubicBezTo>
                  <a:pt x="1973" y="1153"/>
                  <a:pt x="1973" y="1153"/>
                  <a:pt x="1973" y="1153"/>
                </a:cubicBezTo>
                <a:cubicBezTo>
                  <a:pt x="1978" y="1193"/>
                  <a:pt x="1998" y="1229"/>
                  <a:pt x="2028" y="1253"/>
                </a:cubicBezTo>
                <a:lnTo>
                  <a:pt x="1940" y="1369"/>
                </a:lnTo>
                <a:close/>
                <a:moveTo>
                  <a:pt x="1350" y="1031"/>
                </a:moveTo>
                <a:cubicBezTo>
                  <a:pt x="1348" y="1025"/>
                  <a:pt x="1345" y="1020"/>
                  <a:pt x="1343" y="1014"/>
                </a:cubicBezTo>
                <a:cubicBezTo>
                  <a:pt x="1330" y="985"/>
                  <a:pt x="1313" y="959"/>
                  <a:pt x="1292" y="936"/>
                </a:cubicBezTo>
                <a:cubicBezTo>
                  <a:pt x="1285" y="928"/>
                  <a:pt x="1278" y="921"/>
                  <a:pt x="1270" y="915"/>
                </a:cubicBezTo>
                <a:cubicBezTo>
                  <a:pt x="1247" y="894"/>
                  <a:pt x="1221" y="876"/>
                  <a:pt x="1192" y="863"/>
                </a:cubicBezTo>
                <a:cubicBezTo>
                  <a:pt x="1186" y="861"/>
                  <a:pt x="1181" y="858"/>
                  <a:pt x="1175" y="856"/>
                </a:cubicBezTo>
                <a:cubicBezTo>
                  <a:pt x="1147" y="845"/>
                  <a:pt x="1116" y="839"/>
                  <a:pt x="1083" y="837"/>
                </a:cubicBezTo>
                <a:cubicBezTo>
                  <a:pt x="1079" y="837"/>
                  <a:pt x="1073" y="837"/>
                  <a:pt x="1068" y="837"/>
                </a:cubicBezTo>
                <a:cubicBezTo>
                  <a:pt x="1063" y="837"/>
                  <a:pt x="1058" y="837"/>
                  <a:pt x="1053" y="837"/>
                </a:cubicBezTo>
                <a:cubicBezTo>
                  <a:pt x="1021" y="839"/>
                  <a:pt x="990" y="845"/>
                  <a:pt x="962" y="856"/>
                </a:cubicBezTo>
                <a:cubicBezTo>
                  <a:pt x="956" y="858"/>
                  <a:pt x="950" y="861"/>
                  <a:pt x="945" y="863"/>
                </a:cubicBezTo>
                <a:cubicBezTo>
                  <a:pt x="916" y="876"/>
                  <a:pt x="890" y="894"/>
                  <a:pt x="866" y="915"/>
                </a:cubicBezTo>
                <a:cubicBezTo>
                  <a:pt x="859" y="921"/>
                  <a:pt x="852" y="928"/>
                  <a:pt x="845" y="936"/>
                </a:cubicBezTo>
                <a:cubicBezTo>
                  <a:pt x="824" y="959"/>
                  <a:pt x="807" y="985"/>
                  <a:pt x="794" y="1014"/>
                </a:cubicBezTo>
                <a:cubicBezTo>
                  <a:pt x="791" y="1020"/>
                  <a:pt x="789" y="1025"/>
                  <a:pt x="787" y="1031"/>
                </a:cubicBezTo>
                <a:cubicBezTo>
                  <a:pt x="776" y="1060"/>
                  <a:pt x="769" y="1091"/>
                  <a:pt x="768" y="1123"/>
                </a:cubicBezTo>
                <a:cubicBezTo>
                  <a:pt x="767" y="1128"/>
                  <a:pt x="767" y="1133"/>
                  <a:pt x="767" y="1138"/>
                </a:cubicBezTo>
                <a:cubicBezTo>
                  <a:pt x="767" y="1143"/>
                  <a:pt x="767" y="1148"/>
                  <a:pt x="768" y="1153"/>
                </a:cubicBezTo>
                <a:cubicBezTo>
                  <a:pt x="769" y="1185"/>
                  <a:pt x="776" y="1216"/>
                  <a:pt x="787" y="1245"/>
                </a:cubicBezTo>
                <a:cubicBezTo>
                  <a:pt x="789" y="1250"/>
                  <a:pt x="791" y="1256"/>
                  <a:pt x="794" y="1261"/>
                </a:cubicBezTo>
                <a:cubicBezTo>
                  <a:pt x="807" y="1290"/>
                  <a:pt x="824" y="1317"/>
                  <a:pt x="845" y="1340"/>
                </a:cubicBezTo>
                <a:cubicBezTo>
                  <a:pt x="852" y="1347"/>
                  <a:pt x="859" y="1354"/>
                  <a:pt x="866" y="1361"/>
                </a:cubicBezTo>
                <a:cubicBezTo>
                  <a:pt x="890" y="1382"/>
                  <a:pt x="916" y="1399"/>
                  <a:pt x="945" y="1412"/>
                </a:cubicBezTo>
                <a:cubicBezTo>
                  <a:pt x="950" y="1415"/>
                  <a:pt x="956" y="1417"/>
                  <a:pt x="962" y="1419"/>
                </a:cubicBezTo>
                <a:cubicBezTo>
                  <a:pt x="990" y="1430"/>
                  <a:pt x="1021" y="1437"/>
                  <a:pt x="1053" y="1439"/>
                </a:cubicBezTo>
                <a:cubicBezTo>
                  <a:pt x="1058" y="1439"/>
                  <a:pt x="1063" y="1439"/>
                  <a:pt x="1068" y="1439"/>
                </a:cubicBezTo>
                <a:cubicBezTo>
                  <a:pt x="1073" y="1439"/>
                  <a:pt x="1079" y="1439"/>
                  <a:pt x="1083" y="1439"/>
                </a:cubicBezTo>
                <a:cubicBezTo>
                  <a:pt x="1116" y="1437"/>
                  <a:pt x="1147" y="1430"/>
                  <a:pt x="1175" y="1419"/>
                </a:cubicBezTo>
                <a:cubicBezTo>
                  <a:pt x="1181" y="1417"/>
                  <a:pt x="1186" y="1415"/>
                  <a:pt x="1192" y="1412"/>
                </a:cubicBezTo>
                <a:cubicBezTo>
                  <a:pt x="1221" y="1399"/>
                  <a:pt x="1247" y="1382"/>
                  <a:pt x="1270" y="1361"/>
                </a:cubicBezTo>
                <a:cubicBezTo>
                  <a:pt x="1278" y="1354"/>
                  <a:pt x="1285" y="1347"/>
                  <a:pt x="1292" y="1340"/>
                </a:cubicBezTo>
                <a:cubicBezTo>
                  <a:pt x="1313" y="1317"/>
                  <a:pt x="1330" y="1290"/>
                  <a:pt x="1343" y="1261"/>
                </a:cubicBezTo>
                <a:cubicBezTo>
                  <a:pt x="1345" y="1256"/>
                  <a:pt x="1348" y="1250"/>
                  <a:pt x="1350" y="1245"/>
                </a:cubicBezTo>
                <a:cubicBezTo>
                  <a:pt x="1361" y="1216"/>
                  <a:pt x="1368" y="1185"/>
                  <a:pt x="1369" y="1153"/>
                </a:cubicBezTo>
                <a:cubicBezTo>
                  <a:pt x="1369" y="1148"/>
                  <a:pt x="1370" y="1143"/>
                  <a:pt x="1370" y="1138"/>
                </a:cubicBezTo>
                <a:cubicBezTo>
                  <a:pt x="1370" y="1133"/>
                  <a:pt x="1369" y="1128"/>
                  <a:pt x="1369" y="1123"/>
                </a:cubicBezTo>
                <a:cubicBezTo>
                  <a:pt x="1368" y="1091"/>
                  <a:pt x="1361" y="1060"/>
                  <a:pt x="1350" y="10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200">
              <a:solidFill>
                <a:srgbClr val="FFFFFF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72315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061011" y="1203263"/>
            <a:ext cx="6925235" cy="1277470"/>
          </a:xfrm>
          <a:prstGeom prst="rect">
            <a:avLst/>
          </a:prstGeom>
          <a:solidFill>
            <a:srgbClr val="9240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Freeform 88"/>
          <p:cNvSpPr>
            <a:spLocks noEditPoints="1"/>
          </p:cNvSpPr>
          <p:nvPr/>
        </p:nvSpPr>
        <p:spPr bwMode="auto">
          <a:xfrm rot="5400000">
            <a:off x="9989749" y="1481997"/>
            <a:ext cx="720189" cy="720002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4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403913" y="1379578"/>
            <a:ext cx="4251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关键技术</a:t>
            </a:r>
          </a:p>
        </p:txBody>
      </p:sp>
      <p:sp>
        <p:nvSpPr>
          <p:cNvPr id="15" name="矩形 14"/>
          <p:cNvSpPr/>
          <p:nvPr/>
        </p:nvSpPr>
        <p:spPr>
          <a:xfrm>
            <a:off x="4061011" y="2622816"/>
            <a:ext cx="6925236" cy="32272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1156446" y="1203263"/>
            <a:ext cx="2729754" cy="127747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1156448" y="2634178"/>
            <a:ext cx="2729752" cy="3215932"/>
          </a:xfrm>
          <a:prstGeom prst="rect">
            <a:avLst/>
          </a:prstGeom>
          <a:solidFill>
            <a:srgbClr val="9240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57299" y="1689776"/>
            <a:ext cx="25280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3000" dirty="0" smtClean="0">
                <a:solidFill>
                  <a:srgbClr val="0070C0"/>
                </a:solidFill>
              </a:rPr>
              <a:t>Project</a:t>
            </a:r>
            <a:r>
              <a:rPr kumimoji="1" lang="zh-CN" altLang="en-US" sz="3000" dirty="0" smtClean="0">
                <a:solidFill>
                  <a:srgbClr val="0070C0"/>
                </a:solidFill>
              </a:rPr>
              <a:t> </a:t>
            </a:r>
            <a:r>
              <a:rPr kumimoji="1" lang="en-US" altLang="zh-CN" sz="3000" dirty="0" smtClean="0">
                <a:solidFill>
                  <a:srgbClr val="0070C0"/>
                </a:solidFill>
              </a:rPr>
              <a:t>Stellar</a:t>
            </a:r>
            <a:endParaRPr kumimoji="1" lang="zh-CN" altLang="en-US" sz="3000" dirty="0" smtClean="0">
              <a:solidFill>
                <a:srgbClr val="0070C0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379640" y="1449017"/>
            <a:ext cx="1347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 smtClean="0">
                <a:solidFill>
                  <a:schemeClr val="bg2">
                    <a:lumMod val="50000"/>
                  </a:schemeClr>
                </a:solidFill>
              </a:rPr>
              <a:t>SCITLAS</a:t>
            </a:r>
            <a:endParaRPr kumimoji="1" lang="zh-CN" altLang="en-US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0" name="TextBox 5"/>
          <p:cNvSpPr txBox="1"/>
          <p:nvPr/>
        </p:nvSpPr>
        <p:spPr>
          <a:xfrm>
            <a:off x="4415406" y="2985360"/>
            <a:ext cx="6745651" cy="2502205"/>
          </a:xfrm>
          <a:prstGeom prst="rect">
            <a:avLst/>
          </a:prstGeom>
          <a:noFill/>
        </p:spPr>
        <p:txBody>
          <a:bodyPr wrap="square" lIns="68571" tIns="68571" rIns="68571" bIns="68571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40D1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金融数据处理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40D1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投资策略构建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40D1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回测模拟执行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40D1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数据可视化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40D1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人工智能深度学习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40D1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软件开发关键技术</a:t>
            </a:r>
            <a:endParaRPr lang="nl-BE" sz="2400" dirty="0" smtClean="0">
              <a:solidFill>
                <a:srgbClr val="9240D1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14" name="Freeform 73"/>
          <p:cNvSpPr>
            <a:spLocks noEditPoints="1"/>
          </p:cNvSpPr>
          <p:nvPr/>
        </p:nvSpPr>
        <p:spPr bwMode="black">
          <a:xfrm>
            <a:off x="1969780" y="3604764"/>
            <a:ext cx="1103085" cy="1064602"/>
          </a:xfrm>
          <a:custGeom>
            <a:avLst/>
            <a:gdLst>
              <a:gd name="T0" fmla="*/ 1799 w 2278"/>
              <a:gd name="T1" fmla="*/ 879 h 2201"/>
              <a:gd name="T2" fmla="*/ 1711 w 2278"/>
              <a:gd name="T3" fmla="*/ 335 h 2201"/>
              <a:gd name="T4" fmla="*/ 1363 w 2278"/>
              <a:gd name="T5" fmla="*/ 315 h 2201"/>
              <a:gd name="T6" fmla="*/ 1068 w 2278"/>
              <a:gd name="T7" fmla="*/ 0 h 2201"/>
              <a:gd name="T8" fmla="*/ 810 w 2278"/>
              <a:gd name="T9" fmla="*/ 412 h 2201"/>
              <a:gd name="T10" fmla="*/ 408 w 2278"/>
              <a:gd name="T11" fmla="*/ 325 h 2201"/>
              <a:gd name="T12" fmla="*/ 246 w 2278"/>
              <a:gd name="T13" fmla="*/ 841 h 2201"/>
              <a:gd name="T14" fmla="*/ 0 w 2278"/>
              <a:gd name="T15" fmla="*/ 1138 h 2201"/>
              <a:gd name="T16" fmla="*/ 338 w 2278"/>
              <a:gd name="T17" fmla="*/ 1396 h 2201"/>
              <a:gd name="T18" fmla="*/ 166 w 2278"/>
              <a:gd name="T19" fmla="*/ 1885 h 2201"/>
              <a:gd name="T20" fmla="*/ 769 w 2278"/>
              <a:gd name="T21" fmla="*/ 1966 h 2201"/>
              <a:gd name="T22" fmla="*/ 1053 w 2278"/>
              <a:gd name="T23" fmla="*/ 2200 h 2201"/>
              <a:gd name="T24" fmla="*/ 1081 w 2278"/>
              <a:gd name="T25" fmla="*/ 2201 h 2201"/>
              <a:gd name="T26" fmla="*/ 1184 w 2278"/>
              <a:gd name="T27" fmla="*/ 1949 h 2201"/>
              <a:gd name="T28" fmla="*/ 1666 w 2278"/>
              <a:gd name="T29" fmla="*/ 1872 h 2201"/>
              <a:gd name="T30" fmla="*/ 1874 w 2278"/>
              <a:gd name="T31" fmla="*/ 1743 h 2201"/>
              <a:gd name="T32" fmla="*/ 2060 w 2278"/>
              <a:gd name="T33" fmla="*/ 1273 h 2201"/>
              <a:gd name="T34" fmla="*/ 1940 w 2278"/>
              <a:gd name="T35" fmla="*/ 1369 h 2201"/>
              <a:gd name="T36" fmla="*/ 1385 w 2278"/>
              <a:gd name="T37" fmla="*/ 1279 h 2201"/>
              <a:gd name="T38" fmla="*/ 1837 w 2278"/>
              <a:gd name="T39" fmla="*/ 1733 h 2201"/>
              <a:gd name="T40" fmla="*/ 1302 w 2278"/>
              <a:gd name="T41" fmla="*/ 1393 h 2201"/>
              <a:gd name="T42" fmla="*/ 1433 w 2278"/>
              <a:gd name="T43" fmla="*/ 1759 h 2201"/>
              <a:gd name="T44" fmla="*/ 1193 w 2278"/>
              <a:gd name="T45" fmla="*/ 1461 h 2201"/>
              <a:gd name="T46" fmla="*/ 1156 w 2278"/>
              <a:gd name="T47" fmla="*/ 1924 h 2201"/>
              <a:gd name="T48" fmla="*/ 1053 w 2278"/>
              <a:gd name="T49" fmla="*/ 1484 h 2201"/>
              <a:gd name="T50" fmla="*/ 878 w 2278"/>
              <a:gd name="T51" fmla="*/ 1857 h 2201"/>
              <a:gd name="T52" fmla="*/ 804 w 2278"/>
              <a:gd name="T53" fmla="*/ 1753 h 2201"/>
              <a:gd name="T54" fmla="*/ 438 w 2278"/>
              <a:gd name="T55" fmla="*/ 1789 h 2201"/>
              <a:gd name="T56" fmla="*/ 369 w 2278"/>
              <a:gd name="T57" fmla="*/ 1741 h 2201"/>
              <a:gd name="T58" fmla="*/ 551 w 2278"/>
              <a:gd name="T59" fmla="*/ 1362 h 2201"/>
              <a:gd name="T60" fmla="*/ 447 w 2278"/>
              <a:gd name="T61" fmla="*/ 1287 h 2201"/>
              <a:gd name="T62" fmla="*/ 723 w 2278"/>
              <a:gd name="T63" fmla="*/ 1153 h 2201"/>
              <a:gd name="T64" fmla="*/ 253 w 2278"/>
              <a:gd name="T65" fmla="*/ 1023 h 2201"/>
              <a:gd name="T66" fmla="*/ 745 w 2278"/>
              <a:gd name="T67" fmla="*/ 1014 h 2201"/>
              <a:gd name="T68" fmla="*/ 386 w 2278"/>
              <a:gd name="T69" fmla="*/ 736 h 2201"/>
              <a:gd name="T70" fmla="*/ 813 w 2278"/>
              <a:gd name="T71" fmla="*/ 904 h 2201"/>
              <a:gd name="T72" fmla="*/ 701 w 2278"/>
              <a:gd name="T73" fmla="*/ 530 h 2201"/>
              <a:gd name="T74" fmla="*/ 944 w 2278"/>
              <a:gd name="T75" fmla="*/ 815 h 2201"/>
              <a:gd name="T76" fmla="*/ 996 w 2278"/>
              <a:gd name="T77" fmla="*/ 287 h 2201"/>
              <a:gd name="T78" fmla="*/ 1083 w 2278"/>
              <a:gd name="T79" fmla="*/ 792 h 2201"/>
              <a:gd name="T80" fmla="*/ 1253 w 2278"/>
              <a:gd name="T81" fmla="*/ 424 h 2201"/>
              <a:gd name="T82" fmla="*/ 1331 w 2278"/>
              <a:gd name="T83" fmla="*/ 529 h 2201"/>
              <a:gd name="T84" fmla="*/ 1558 w 2278"/>
              <a:gd name="T85" fmla="*/ 488 h 2201"/>
              <a:gd name="T86" fmla="*/ 1618 w 2278"/>
              <a:gd name="T87" fmla="*/ 610 h 2201"/>
              <a:gd name="T88" fmla="*/ 1586 w 2278"/>
              <a:gd name="T89" fmla="*/ 914 h 2201"/>
              <a:gd name="T90" fmla="*/ 1690 w 2278"/>
              <a:gd name="T91" fmla="*/ 989 h 2201"/>
              <a:gd name="T92" fmla="*/ 1414 w 2278"/>
              <a:gd name="T93" fmla="*/ 1123 h 2201"/>
              <a:gd name="T94" fmla="*/ 2028 w 2278"/>
              <a:gd name="T95" fmla="*/ 1253 h 2201"/>
              <a:gd name="T96" fmla="*/ 1292 w 2278"/>
              <a:gd name="T97" fmla="*/ 936 h 2201"/>
              <a:gd name="T98" fmla="*/ 1083 w 2278"/>
              <a:gd name="T99" fmla="*/ 837 h 2201"/>
              <a:gd name="T100" fmla="*/ 945 w 2278"/>
              <a:gd name="T101" fmla="*/ 863 h 2201"/>
              <a:gd name="T102" fmla="*/ 787 w 2278"/>
              <a:gd name="T103" fmla="*/ 1031 h 2201"/>
              <a:gd name="T104" fmla="*/ 787 w 2278"/>
              <a:gd name="T105" fmla="*/ 1245 h 2201"/>
              <a:gd name="T106" fmla="*/ 945 w 2278"/>
              <a:gd name="T107" fmla="*/ 1412 h 2201"/>
              <a:gd name="T108" fmla="*/ 1083 w 2278"/>
              <a:gd name="T109" fmla="*/ 1439 h 2201"/>
              <a:gd name="T110" fmla="*/ 1292 w 2278"/>
              <a:gd name="T111" fmla="*/ 1340 h 2201"/>
              <a:gd name="T112" fmla="*/ 1370 w 2278"/>
              <a:gd name="T113" fmla="*/ 1138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78" h="2201">
                <a:moveTo>
                  <a:pt x="2125" y="983"/>
                </a:moveTo>
                <a:cubicBezTo>
                  <a:pt x="2074" y="983"/>
                  <a:pt x="2030" y="1007"/>
                  <a:pt x="2002" y="1045"/>
                </a:cubicBezTo>
                <a:cubicBezTo>
                  <a:pt x="1787" y="929"/>
                  <a:pt x="1787" y="929"/>
                  <a:pt x="1787" y="929"/>
                </a:cubicBezTo>
                <a:cubicBezTo>
                  <a:pt x="1795" y="914"/>
                  <a:pt x="1799" y="897"/>
                  <a:pt x="1799" y="879"/>
                </a:cubicBezTo>
                <a:cubicBezTo>
                  <a:pt x="1799" y="828"/>
                  <a:pt x="1764" y="785"/>
                  <a:pt x="1715" y="773"/>
                </a:cubicBezTo>
                <a:cubicBezTo>
                  <a:pt x="1729" y="640"/>
                  <a:pt x="1729" y="640"/>
                  <a:pt x="1729" y="640"/>
                </a:cubicBezTo>
                <a:cubicBezTo>
                  <a:pt x="1805" y="630"/>
                  <a:pt x="1863" y="566"/>
                  <a:pt x="1863" y="488"/>
                </a:cubicBezTo>
                <a:cubicBezTo>
                  <a:pt x="1863" y="404"/>
                  <a:pt x="1795" y="335"/>
                  <a:pt x="1711" y="335"/>
                </a:cubicBezTo>
                <a:cubicBezTo>
                  <a:pt x="1645" y="335"/>
                  <a:pt x="1589" y="377"/>
                  <a:pt x="1567" y="435"/>
                </a:cubicBezTo>
                <a:cubicBezTo>
                  <a:pt x="1472" y="427"/>
                  <a:pt x="1472" y="427"/>
                  <a:pt x="1472" y="427"/>
                </a:cubicBezTo>
                <a:cubicBezTo>
                  <a:pt x="1472" y="426"/>
                  <a:pt x="1472" y="425"/>
                  <a:pt x="1472" y="424"/>
                </a:cubicBezTo>
                <a:cubicBezTo>
                  <a:pt x="1472" y="364"/>
                  <a:pt x="1423" y="315"/>
                  <a:pt x="1363" y="315"/>
                </a:cubicBezTo>
                <a:cubicBezTo>
                  <a:pt x="1334" y="315"/>
                  <a:pt x="1309" y="326"/>
                  <a:pt x="1289" y="343"/>
                </a:cubicBezTo>
                <a:cubicBezTo>
                  <a:pt x="1187" y="250"/>
                  <a:pt x="1187" y="250"/>
                  <a:pt x="1187" y="250"/>
                </a:cubicBezTo>
                <a:cubicBezTo>
                  <a:pt x="1208" y="223"/>
                  <a:pt x="1221" y="190"/>
                  <a:pt x="1221" y="153"/>
                </a:cubicBezTo>
                <a:cubicBezTo>
                  <a:pt x="1221" y="69"/>
                  <a:pt x="1153" y="0"/>
                  <a:pt x="1068" y="0"/>
                </a:cubicBezTo>
                <a:cubicBezTo>
                  <a:pt x="984" y="0"/>
                  <a:pt x="916" y="69"/>
                  <a:pt x="916" y="153"/>
                </a:cubicBezTo>
                <a:cubicBezTo>
                  <a:pt x="916" y="197"/>
                  <a:pt x="935" y="237"/>
                  <a:pt x="965" y="265"/>
                </a:cubicBezTo>
                <a:cubicBezTo>
                  <a:pt x="856" y="422"/>
                  <a:pt x="856" y="422"/>
                  <a:pt x="856" y="422"/>
                </a:cubicBezTo>
                <a:cubicBezTo>
                  <a:pt x="842" y="416"/>
                  <a:pt x="827" y="412"/>
                  <a:pt x="810" y="412"/>
                </a:cubicBezTo>
                <a:cubicBezTo>
                  <a:pt x="760" y="412"/>
                  <a:pt x="717" y="446"/>
                  <a:pt x="705" y="493"/>
                </a:cubicBezTo>
                <a:cubicBezTo>
                  <a:pt x="561" y="480"/>
                  <a:pt x="561" y="480"/>
                  <a:pt x="561" y="480"/>
                </a:cubicBezTo>
                <a:cubicBezTo>
                  <a:pt x="561" y="480"/>
                  <a:pt x="561" y="479"/>
                  <a:pt x="561" y="478"/>
                </a:cubicBezTo>
                <a:cubicBezTo>
                  <a:pt x="561" y="394"/>
                  <a:pt x="493" y="325"/>
                  <a:pt x="408" y="325"/>
                </a:cubicBezTo>
                <a:cubicBezTo>
                  <a:pt x="324" y="325"/>
                  <a:pt x="256" y="394"/>
                  <a:pt x="256" y="478"/>
                </a:cubicBezTo>
                <a:cubicBezTo>
                  <a:pt x="256" y="546"/>
                  <a:pt x="300" y="603"/>
                  <a:pt x="362" y="623"/>
                </a:cubicBezTo>
                <a:cubicBezTo>
                  <a:pt x="348" y="732"/>
                  <a:pt x="348" y="732"/>
                  <a:pt x="348" y="732"/>
                </a:cubicBezTo>
                <a:cubicBezTo>
                  <a:pt x="291" y="736"/>
                  <a:pt x="246" y="783"/>
                  <a:pt x="246" y="841"/>
                </a:cubicBezTo>
                <a:cubicBezTo>
                  <a:pt x="246" y="873"/>
                  <a:pt x="259" y="901"/>
                  <a:pt x="281" y="921"/>
                </a:cubicBezTo>
                <a:cubicBezTo>
                  <a:pt x="221" y="1002"/>
                  <a:pt x="221" y="1002"/>
                  <a:pt x="221" y="1002"/>
                </a:cubicBezTo>
                <a:cubicBezTo>
                  <a:pt x="201" y="991"/>
                  <a:pt x="177" y="985"/>
                  <a:pt x="153" y="985"/>
                </a:cubicBezTo>
                <a:cubicBezTo>
                  <a:pt x="68" y="985"/>
                  <a:pt x="0" y="1054"/>
                  <a:pt x="0" y="1138"/>
                </a:cubicBezTo>
                <a:cubicBezTo>
                  <a:pt x="0" y="1222"/>
                  <a:pt x="68" y="1291"/>
                  <a:pt x="153" y="1291"/>
                </a:cubicBezTo>
                <a:cubicBezTo>
                  <a:pt x="190" y="1291"/>
                  <a:pt x="225" y="1277"/>
                  <a:pt x="251" y="1254"/>
                </a:cubicBezTo>
                <a:cubicBezTo>
                  <a:pt x="354" y="1339"/>
                  <a:pt x="354" y="1339"/>
                  <a:pt x="354" y="1339"/>
                </a:cubicBezTo>
                <a:cubicBezTo>
                  <a:pt x="344" y="1356"/>
                  <a:pt x="338" y="1375"/>
                  <a:pt x="338" y="1396"/>
                </a:cubicBezTo>
                <a:cubicBezTo>
                  <a:pt x="338" y="1436"/>
                  <a:pt x="359" y="1471"/>
                  <a:pt x="392" y="1490"/>
                </a:cubicBezTo>
                <a:cubicBezTo>
                  <a:pt x="332" y="1733"/>
                  <a:pt x="332" y="1733"/>
                  <a:pt x="332" y="1733"/>
                </a:cubicBezTo>
                <a:cubicBezTo>
                  <a:pt x="328" y="1732"/>
                  <a:pt x="323" y="1732"/>
                  <a:pt x="319" y="1732"/>
                </a:cubicBezTo>
                <a:cubicBezTo>
                  <a:pt x="235" y="1732"/>
                  <a:pt x="166" y="1800"/>
                  <a:pt x="166" y="1885"/>
                </a:cubicBezTo>
                <a:cubicBezTo>
                  <a:pt x="166" y="1969"/>
                  <a:pt x="235" y="2038"/>
                  <a:pt x="319" y="2038"/>
                </a:cubicBezTo>
                <a:cubicBezTo>
                  <a:pt x="399" y="2038"/>
                  <a:pt x="464" y="1977"/>
                  <a:pt x="471" y="1899"/>
                </a:cubicBezTo>
                <a:cubicBezTo>
                  <a:pt x="664" y="1884"/>
                  <a:pt x="664" y="1884"/>
                  <a:pt x="664" y="1884"/>
                </a:cubicBezTo>
                <a:cubicBezTo>
                  <a:pt x="676" y="1931"/>
                  <a:pt x="718" y="1966"/>
                  <a:pt x="769" y="1966"/>
                </a:cubicBezTo>
                <a:cubicBezTo>
                  <a:pt x="802" y="1966"/>
                  <a:pt x="832" y="1951"/>
                  <a:pt x="852" y="1928"/>
                </a:cubicBezTo>
                <a:cubicBezTo>
                  <a:pt x="931" y="1982"/>
                  <a:pt x="931" y="1982"/>
                  <a:pt x="931" y="1982"/>
                </a:cubicBezTo>
                <a:cubicBezTo>
                  <a:pt x="921" y="2002"/>
                  <a:pt x="916" y="2024"/>
                  <a:pt x="916" y="2049"/>
                </a:cubicBezTo>
                <a:cubicBezTo>
                  <a:pt x="916" y="2128"/>
                  <a:pt x="976" y="2193"/>
                  <a:pt x="1053" y="2200"/>
                </a:cubicBezTo>
                <a:cubicBezTo>
                  <a:pt x="1053" y="2201"/>
                  <a:pt x="1053" y="2201"/>
                  <a:pt x="1053" y="2201"/>
                </a:cubicBezTo>
                <a:cubicBezTo>
                  <a:pt x="1056" y="2201"/>
                  <a:pt x="1056" y="2201"/>
                  <a:pt x="1056" y="2201"/>
                </a:cubicBezTo>
                <a:cubicBezTo>
                  <a:pt x="1060" y="2201"/>
                  <a:pt x="1064" y="2201"/>
                  <a:pt x="1068" y="2201"/>
                </a:cubicBezTo>
                <a:cubicBezTo>
                  <a:pt x="1073" y="2201"/>
                  <a:pt x="1077" y="2201"/>
                  <a:pt x="1081" y="2201"/>
                </a:cubicBezTo>
                <a:cubicBezTo>
                  <a:pt x="1083" y="2201"/>
                  <a:pt x="1083" y="2201"/>
                  <a:pt x="1083" y="2201"/>
                </a:cubicBezTo>
                <a:cubicBezTo>
                  <a:pt x="1083" y="2201"/>
                  <a:pt x="1083" y="2201"/>
                  <a:pt x="1083" y="2201"/>
                </a:cubicBezTo>
                <a:cubicBezTo>
                  <a:pt x="1161" y="2193"/>
                  <a:pt x="1221" y="2128"/>
                  <a:pt x="1221" y="2049"/>
                </a:cubicBezTo>
                <a:cubicBezTo>
                  <a:pt x="1221" y="2011"/>
                  <a:pt x="1207" y="1976"/>
                  <a:pt x="1184" y="1949"/>
                </a:cubicBezTo>
                <a:cubicBezTo>
                  <a:pt x="1268" y="1853"/>
                  <a:pt x="1268" y="1853"/>
                  <a:pt x="1268" y="1853"/>
                </a:cubicBezTo>
                <a:cubicBezTo>
                  <a:pt x="1285" y="1863"/>
                  <a:pt x="1304" y="1869"/>
                  <a:pt x="1324" y="1869"/>
                </a:cubicBezTo>
                <a:cubicBezTo>
                  <a:pt x="1364" y="1869"/>
                  <a:pt x="1399" y="1847"/>
                  <a:pt x="1418" y="1815"/>
                </a:cubicBezTo>
                <a:cubicBezTo>
                  <a:pt x="1666" y="1872"/>
                  <a:pt x="1666" y="1872"/>
                  <a:pt x="1666" y="1872"/>
                </a:cubicBezTo>
                <a:cubicBezTo>
                  <a:pt x="1665" y="1876"/>
                  <a:pt x="1665" y="1880"/>
                  <a:pt x="1665" y="1885"/>
                </a:cubicBezTo>
                <a:cubicBezTo>
                  <a:pt x="1665" y="1969"/>
                  <a:pt x="1734" y="2038"/>
                  <a:pt x="1818" y="2038"/>
                </a:cubicBezTo>
                <a:cubicBezTo>
                  <a:pt x="1902" y="2038"/>
                  <a:pt x="1971" y="1969"/>
                  <a:pt x="1971" y="1885"/>
                </a:cubicBezTo>
                <a:cubicBezTo>
                  <a:pt x="1971" y="1820"/>
                  <a:pt x="1931" y="1765"/>
                  <a:pt x="1874" y="1743"/>
                </a:cubicBezTo>
                <a:cubicBezTo>
                  <a:pt x="1893" y="1572"/>
                  <a:pt x="1893" y="1572"/>
                  <a:pt x="1893" y="1572"/>
                </a:cubicBezTo>
                <a:cubicBezTo>
                  <a:pt x="1949" y="1567"/>
                  <a:pt x="1994" y="1520"/>
                  <a:pt x="1994" y="1463"/>
                </a:cubicBezTo>
                <a:cubicBezTo>
                  <a:pt x="1994" y="1436"/>
                  <a:pt x="1984" y="1412"/>
                  <a:pt x="1969" y="1393"/>
                </a:cubicBezTo>
                <a:cubicBezTo>
                  <a:pt x="2060" y="1273"/>
                  <a:pt x="2060" y="1273"/>
                  <a:pt x="2060" y="1273"/>
                </a:cubicBezTo>
                <a:cubicBezTo>
                  <a:pt x="2080" y="1283"/>
                  <a:pt x="2102" y="1288"/>
                  <a:pt x="2125" y="1288"/>
                </a:cubicBezTo>
                <a:cubicBezTo>
                  <a:pt x="2209" y="1288"/>
                  <a:pt x="2278" y="1220"/>
                  <a:pt x="2278" y="1135"/>
                </a:cubicBezTo>
                <a:cubicBezTo>
                  <a:pt x="2278" y="1051"/>
                  <a:pt x="2209" y="983"/>
                  <a:pt x="2125" y="983"/>
                </a:cubicBezTo>
                <a:close/>
                <a:moveTo>
                  <a:pt x="1940" y="1369"/>
                </a:moveTo>
                <a:cubicBezTo>
                  <a:pt x="1924" y="1359"/>
                  <a:pt x="1905" y="1353"/>
                  <a:pt x="1884" y="1353"/>
                </a:cubicBezTo>
                <a:cubicBezTo>
                  <a:pt x="1838" y="1353"/>
                  <a:pt x="1798" y="1383"/>
                  <a:pt x="1782" y="1424"/>
                </a:cubicBezTo>
                <a:cubicBezTo>
                  <a:pt x="1392" y="1262"/>
                  <a:pt x="1392" y="1262"/>
                  <a:pt x="1392" y="1262"/>
                </a:cubicBezTo>
                <a:cubicBezTo>
                  <a:pt x="1390" y="1268"/>
                  <a:pt x="1387" y="1273"/>
                  <a:pt x="1385" y="1279"/>
                </a:cubicBezTo>
                <a:cubicBezTo>
                  <a:pt x="1777" y="1441"/>
                  <a:pt x="1777" y="1441"/>
                  <a:pt x="1777" y="1441"/>
                </a:cubicBezTo>
                <a:cubicBezTo>
                  <a:pt x="1776" y="1448"/>
                  <a:pt x="1775" y="1455"/>
                  <a:pt x="1775" y="1463"/>
                </a:cubicBezTo>
                <a:cubicBezTo>
                  <a:pt x="1775" y="1513"/>
                  <a:pt x="1809" y="1555"/>
                  <a:pt x="1855" y="1568"/>
                </a:cubicBezTo>
                <a:cubicBezTo>
                  <a:pt x="1837" y="1733"/>
                  <a:pt x="1837" y="1733"/>
                  <a:pt x="1837" y="1733"/>
                </a:cubicBezTo>
                <a:cubicBezTo>
                  <a:pt x="1831" y="1733"/>
                  <a:pt x="1825" y="1732"/>
                  <a:pt x="1818" y="1732"/>
                </a:cubicBezTo>
                <a:cubicBezTo>
                  <a:pt x="1781" y="1732"/>
                  <a:pt x="1746" y="1746"/>
                  <a:pt x="1720" y="1768"/>
                </a:cubicBezTo>
                <a:cubicBezTo>
                  <a:pt x="1324" y="1372"/>
                  <a:pt x="1324" y="1372"/>
                  <a:pt x="1324" y="1372"/>
                </a:cubicBezTo>
                <a:cubicBezTo>
                  <a:pt x="1317" y="1379"/>
                  <a:pt x="1310" y="1386"/>
                  <a:pt x="1302" y="1393"/>
                </a:cubicBezTo>
                <a:cubicBezTo>
                  <a:pt x="1699" y="1789"/>
                  <a:pt x="1699" y="1789"/>
                  <a:pt x="1699" y="1789"/>
                </a:cubicBezTo>
                <a:cubicBezTo>
                  <a:pt x="1688" y="1803"/>
                  <a:pt x="1679" y="1818"/>
                  <a:pt x="1674" y="1835"/>
                </a:cubicBezTo>
                <a:cubicBezTo>
                  <a:pt x="1432" y="1779"/>
                  <a:pt x="1432" y="1779"/>
                  <a:pt x="1432" y="1779"/>
                </a:cubicBezTo>
                <a:cubicBezTo>
                  <a:pt x="1433" y="1773"/>
                  <a:pt x="1433" y="1766"/>
                  <a:pt x="1433" y="1759"/>
                </a:cubicBezTo>
                <a:cubicBezTo>
                  <a:pt x="1433" y="1699"/>
                  <a:pt x="1385" y="1650"/>
                  <a:pt x="1324" y="1650"/>
                </a:cubicBezTo>
                <a:cubicBezTo>
                  <a:pt x="1313" y="1650"/>
                  <a:pt x="1302" y="1652"/>
                  <a:pt x="1292" y="1655"/>
                </a:cubicBezTo>
                <a:cubicBezTo>
                  <a:pt x="1209" y="1454"/>
                  <a:pt x="1209" y="1454"/>
                  <a:pt x="1209" y="1454"/>
                </a:cubicBezTo>
                <a:cubicBezTo>
                  <a:pt x="1204" y="1457"/>
                  <a:pt x="1198" y="1459"/>
                  <a:pt x="1193" y="1461"/>
                </a:cubicBezTo>
                <a:cubicBezTo>
                  <a:pt x="1276" y="1662"/>
                  <a:pt x="1276" y="1662"/>
                  <a:pt x="1276" y="1662"/>
                </a:cubicBezTo>
                <a:cubicBezTo>
                  <a:pt x="1240" y="1680"/>
                  <a:pt x="1215" y="1717"/>
                  <a:pt x="1215" y="1759"/>
                </a:cubicBezTo>
                <a:cubicBezTo>
                  <a:pt x="1215" y="1786"/>
                  <a:pt x="1224" y="1810"/>
                  <a:pt x="1240" y="1828"/>
                </a:cubicBezTo>
                <a:cubicBezTo>
                  <a:pt x="1156" y="1924"/>
                  <a:pt x="1156" y="1924"/>
                  <a:pt x="1156" y="1924"/>
                </a:cubicBezTo>
                <a:cubicBezTo>
                  <a:pt x="1135" y="1909"/>
                  <a:pt x="1110" y="1899"/>
                  <a:pt x="1083" y="1897"/>
                </a:cubicBezTo>
                <a:cubicBezTo>
                  <a:pt x="1083" y="1484"/>
                  <a:pt x="1083" y="1484"/>
                  <a:pt x="1083" y="1484"/>
                </a:cubicBezTo>
                <a:cubicBezTo>
                  <a:pt x="1078" y="1484"/>
                  <a:pt x="1073" y="1484"/>
                  <a:pt x="1068" y="1484"/>
                </a:cubicBezTo>
                <a:cubicBezTo>
                  <a:pt x="1063" y="1484"/>
                  <a:pt x="1058" y="1484"/>
                  <a:pt x="1053" y="1484"/>
                </a:cubicBezTo>
                <a:cubicBezTo>
                  <a:pt x="1053" y="1897"/>
                  <a:pt x="1053" y="1897"/>
                  <a:pt x="1053" y="1897"/>
                </a:cubicBezTo>
                <a:cubicBezTo>
                  <a:pt x="1013" y="1901"/>
                  <a:pt x="977" y="1920"/>
                  <a:pt x="952" y="1950"/>
                </a:cubicBezTo>
                <a:cubicBezTo>
                  <a:pt x="871" y="1895"/>
                  <a:pt x="871" y="1895"/>
                  <a:pt x="871" y="1895"/>
                </a:cubicBezTo>
                <a:cubicBezTo>
                  <a:pt x="876" y="1883"/>
                  <a:pt x="878" y="1870"/>
                  <a:pt x="878" y="1857"/>
                </a:cubicBezTo>
                <a:cubicBezTo>
                  <a:pt x="878" y="1815"/>
                  <a:pt x="855" y="1779"/>
                  <a:pt x="820" y="1760"/>
                </a:cubicBezTo>
                <a:cubicBezTo>
                  <a:pt x="944" y="1461"/>
                  <a:pt x="944" y="1461"/>
                  <a:pt x="944" y="1461"/>
                </a:cubicBezTo>
                <a:cubicBezTo>
                  <a:pt x="939" y="1459"/>
                  <a:pt x="933" y="1457"/>
                  <a:pt x="928" y="1454"/>
                </a:cubicBezTo>
                <a:cubicBezTo>
                  <a:pt x="804" y="1753"/>
                  <a:pt x="804" y="1753"/>
                  <a:pt x="804" y="1753"/>
                </a:cubicBezTo>
                <a:cubicBezTo>
                  <a:pt x="793" y="1749"/>
                  <a:pt x="781" y="1747"/>
                  <a:pt x="769" y="1747"/>
                </a:cubicBezTo>
                <a:cubicBezTo>
                  <a:pt x="712" y="1747"/>
                  <a:pt x="666" y="1791"/>
                  <a:pt x="660" y="1846"/>
                </a:cubicBezTo>
                <a:cubicBezTo>
                  <a:pt x="470" y="1861"/>
                  <a:pt x="470" y="1861"/>
                  <a:pt x="470" y="1861"/>
                </a:cubicBezTo>
                <a:cubicBezTo>
                  <a:pt x="466" y="1834"/>
                  <a:pt x="454" y="1810"/>
                  <a:pt x="438" y="1789"/>
                </a:cubicBezTo>
                <a:cubicBezTo>
                  <a:pt x="835" y="1393"/>
                  <a:pt x="835" y="1393"/>
                  <a:pt x="835" y="1393"/>
                </a:cubicBezTo>
                <a:cubicBezTo>
                  <a:pt x="827" y="1386"/>
                  <a:pt x="820" y="1379"/>
                  <a:pt x="813" y="1372"/>
                </a:cubicBezTo>
                <a:cubicBezTo>
                  <a:pt x="417" y="1768"/>
                  <a:pt x="417" y="1768"/>
                  <a:pt x="417" y="1768"/>
                </a:cubicBezTo>
                <a:cubicBezTo>
                  <a:pt x="403" y="1756"/>
                  <a:pt x="387" y="1747"/>
                  <a:pt x="369" y="1741"/>
                </a:cubicBezTo>
                <a:cubicBezTo>
                  <a:pt x="428" y="1504"/>
                  <a:pt x="428" y="1504"/>
                  <a:pt x="428" y="1504"/>
                </a:cubicBezTo>
                <a:cubicBezTo>
                  <a:pt x="434" y="1505"/>
                  <a:pt x="440" y="1505"/>
                  <a:pt x="447" y="1505"/>
                </a:cubicBezTo>
                <a:cubicBezTo>
                  <a:pt x="507" y="1505"/>
                  <a:pt x="556" y="1457"/>
                  <a:pt x="556" y="1396"/>
                </a:cubicBezTo>
                <a:cubicBezTo>
                  <a:pt x="556" y="1384"/>
                  <a:pt x="554" y="1373"/>
                  <a:pt x="551" y="1362"/>
                </a:cubicBezTo>
                <a:cubicBezTo>
                  <a:pt x="752" y="1279"/>
                  <a:pt x="752" y="1279"/>
                  <a:pt x="752" y="1279"/>
                </a:cubicBezTo>
                <a:cubicBezTo>
                  <a:pt x="750" y="1273"/>
                  <a:pt x="747" y="1268"/>
                  <a:pt x="745" y="1262"/>
                </a:cubicBezTo>
                <a:cubicBezTo>
                  <a:pt x="544" y="1345"/>
                  <a:pt x="544" y="1345"/>
                  <a:pt x="544" y="1345"/>
                </a:cubicBezTo>
                <a:cubicBezTo>
                  <a:pt x="525" y="1311"/>
                  <a:pt x="489" y="1287"/>
                  <a:pt x="447" y="1287"/>
                </a:cubicBezTo>
                <a:cubicBezTo>
                  <a:pt x="421" y="1287"/>
                  <a:pt x="397" y="1296"/>
                  <a:pt x="379" y="1311"/>
                </a:cubicBezTo>
                <a:cubicBezTo>
                  <a:pt x="277" y="1226"/>
                  <a:pt x="277" y="1226"/>
                  <a:pt x="277" y="1226"/>
                </a:cubicBezTo>
                <a:cubicBezTo>
                  <a:pt x="292" y="1205"/>
                  <a:pt x="302" y="1180"/>
                  <a:pt x="305" y="1153"/>
                </a:cubicBezTo>
                <a:cubicBezTo>
                  <a:pt x="723" y="1153"/>
                  <a:pt x="723" y="1153"/>
                  <a:pt x="723" y="1153"/>
                </a:cubicBezTo>
                <a:cubicBezTo>
                  <a:pt x="722" y="1148"/>
                  <a:pt x="722" y="1143"/>
                  <a:pt x="722" y="1138"/>
                </a:cubicBezTo>
                <a:cubicBezTo>
                  <a:pt x="722" y="1133"/>
                  <a:pt x="722" y="1128"/>
                  <a:pt x="723" y="1123"/>
                </a:cubicBezTo>
                <a:cubicBezTo>
                  <a:pt x="305" y="1123"/>
                  <a:pt x="305" y="1123"/>
                  <a:pt x="305" y="1123"/>
                </a:cubicBezTo>
                <a:cubicBezTo>
                  <a:pt x="301" y="1083"/>
                  <a:pt x="281" y="1048"/>
                  <a:pt x="253" y="1023"/>
                </a:cubicBezTo>
                <a:cubicBezTo>
                  <a:pt x="312" y="942"/>
                  <a:pt x="312" y="942"/>
                  <a:pt x="312" y="942"/>
                </a:cubicBezTo>
                <a:cubicBezTo>
                  <a:pt x="325" y="947"/>
                  <a:pt x="340" y="950"/>
                  <a:pt x="355" y="950"/>
                </a:cubicBezTo>
                <a:cubicBezTo>
                  <a:pt x="397" y="950"/>
                  <a:pt x="433" y="927"/>
                  <a:pt x="451" y="892"/>
                </a:cubicBezTo>
                <a:cubicBezTo>
                  <a:pt x="745" y="1014"/>
                  <a:pt x="745" y="1014"/>
                  <a:pt x="745" y="1014"/>
                </a:cubicBezTo>
                <a:cubicBezTo>
                  <a:pt x="747" y="1008"/>
                  <a:pt x="750" y="1003"/>
                  <a:pt x="752" y="997"/>
                </a:cubicBezTo>
                <a:cubicBezTo>
                  <a:pt x="458" y="875"/>
                  <a:pt x="458" y="875"/>
                  <a:pt x="458" y="875"/>
                </a:cubicBezTo>
                <a:cubicBezTo>
                  <a:pt x="462" y="865"/>
                  <a:pt x="464" y="853"/>
                  <a:pt x="464" y="841"/>
                </a:cubicBezTo>
                <a:cubicBezTo>
                  <a:pt x="464" y="792"/>
                  <a:pt x="431" y="750"/>
                  <a:pt x="386" y="736"/>
                </a:cubicBezTo>
                <a:cubicBezTo>
                  <a:pt x="399" y="630"/>
                  <a:pt x="399" y="630"/>
                  <a:pt x="399" y="630"/>
                </a:cubicBezTo>
                <a:cubicBezTo>
                  <a:pt x="402" y="630"/>
                  <a:pt x="405" y="631"/>
                  <a:pt x="408" y="631"/>
                </a:cubicBezTo>
                <a:cubicBezTo>
                  <a:pt x="445" y="631"/>
                  <a:pt x="479" y="618"/>
                  <a:pt x="505" y="596"/>
                </a:cubicBezTo>
                <a:cubicBezTo>
                  <a:pt x="813" y="904"/>
                  <a:pt x="813" y="904"/>
                  <a:pt x="813" y="904"/>
                </a:cubicBezTo>
                <a:cubicBezTo>
                  <a:pt x="820" y="897"/>
                  <a:pt x="827" y="889"/>
                  <a:pt x="835" y="883"/>
                </a:cubicBezTo>
                <a:cubicBezTo>
                  <a:pt x="527" y="575"/>
                  <a:pt x="527" y="575"/>
                  <a:pt x="527" y="575"/>
                </a:cubicBezTo>
                <a:cubicBezTo>
                  <a:pt x="540" y="558"/>
                  <a:pt x="550" y="539"/>
                  <a:pt x="556" y="518"/>
                </a:cubicBezTo>
                <a:cubicBezTo>
                  <a:pt x="701" y="530"/>
                  <a:pt x="701" y="530"/>
                  <a:pt x="701" y="530"/>
                </a:cubicBezTo>
                <a:cubicBezTo>
                  <a:pt x="706" y="587"/>
                  <a:pt x="753" y="631"/>
                  <a:pt x="810" y="631"/>
                </a:cubicBezTo>
                <a:cubicBezTo>
                  <a:pt x="823" y="631"/>
                  <a:pt x="835" y="628"/>
                  <a:pt x="846" y="624"/>
                </a:cubicBezTo>
                <a:cubicBezTo>
                  <a:pt x="928" y="822"/>
                  <a:pt x="928" y="822"/>
                  <a:pt x="928" y="822"/>
                </a:cubicBezTo>
                <a:cubicBezTo>
                  <a:pt x="933" y="819"/>
                  <a:pt x="939" y="817"/>
                  <a:pt x="944" y="815"/>
                </a:cubicBezTo>
                <a:cubicBezTo>
                  <a:pt x="863" y="617"/>
                  <a:pt x="863" y="617"/>
                  <a:pt x="863" y="617"/>
                </a:cubicBezTo>
                <a:cubicBezTo>
                  <a:pt x="896" y="599"/>
                  <a:pt x="919" y="563"/>
                  <a:pt x="919" y="521"/>
                </a:cubicBezTo>
                <a:cubicBezTo>
                  <a:pt x="919" y="491"/>
                  <a:pt x="907" y="464"/>
                  <a:pt x="887" y="444"/>
                </a:cubicBezTo>
                <a:cubicBezTo>
                  <a:pt x="996" y="287"/>
                  <a:pt x="996" y="287"/>
                  <a:pt x="996" y="287"/>
                </a:cubicBezTo>
                <a:cubicBezTo>
                  <a:pt x="1013" y="297"/>
                  <a:pt x="1033" y="303"/>
                  <a:pt x="1053" y="305"/>
                </a:cubicBezTo>
                <a:cubicBezTo>
                  <a:pt x="1053" y="792"/>
                  <a:pt x="1053" y="792"/>
                  <a:pt x="1053" y="792"/>
                </a:cubicBezTo>
                <a:cubicBezTo>
                  <a:pt x="1058" y="792"/>
                  <a:pt x="1063" y="792"/>
                  <a:pt x="1068" y="792"/>
                </a:cubicBezTo>
                <a:cubicBezTo>
                  <a:pt x="1073" y="792"/>
                  <a:pt x="1078" y="792"/>
                  <a:pt x="1083" y="792"/>
                </a:cubicBezTo>
                <a:cubicBezTo>
                  <a:pt x="1083" y="305"/>
                  <a:pt x="1083" y="305"/>
                  <a:pt x="1083" y="305"/>
                </a:cubicBezTo>
                <a:cubicBezTo>
                  <a:pt x="1112" y="302"/>
                  <a:pt x="1138" y="292"/>
                  <a:pt x="1159" y="276"/>
                </a:cubicBezTo>
                <a:cubicBezTo>
                  <a:pt x="1266" y="373"/>
                  <a:pt x="1266" y="373"/>
                  <a:pt x="1266" y="373"/>
                </a:cubicBezTo>
                <a:cubicBezTo>
                  <a:pt x="1258" y="388"/>
                  <a:pt x="1253" y="406"/>
                  <a:pt x="1253" y="424"/>
                </a:cubicBezTo>
                <a:cubicBezTo>
                  <a:pt x="1253" y="467"/>
                  <a:pt x="1278" y="504"/>
                  <a:pt x="1314" y="522"/>
                </a:cubicBezTo>
                <a:cubicBezTo>
                  <a:pt x="1193" y="815"/>
                  <a:pt x="1193" y="815"/>
                  <a:pt x="1193" y="815"/>
                </a:cubicBezTo>
                <a:cubicBezTo>
                  <a:pt x="1198" y="817"/>
                  <a:pt x="1204" y="819"/>
                  <a:pt x="1209" y="822"/>
                </a:cubicBezTo>
                <a:cubicBezTo>
                  <a:pt x="1331" y="529"/>
                  <a:pt x="1331" y="529"/>
                  <a:pt x="1331" y="529"/>
                </a:cubicBezTo>
                <a:cubicBezTo>
                  <a:pt x="1341" y="532"/>
                  <a:pt x="1351" y="533"/>
                  <a:pt x="1363" y="533"/>
                </a:cubicBezTo>
                <a:cubicBezTo>
                  <a:pt x="1409" y="533"/>
                  <a:pt x="1448" y="505"/>
                  <a:pt x="1464" y="464"/>
                </a:cubicBezTo>
                <a:cubicBezTo>
                  <a:pt x="1559" y="472"/>
                  <a:pt x="1559" y="472"/>
                  <a:pt x="1559" y="472"/>
                </a:cubicBezTo>
                <a:cubicBezTo>
                  <a:pt x="1558" y="477"/>
                  <a:pt x="1558" y="483"/>
                  <a:pt x="1558" y="488"/>
                </a:cubicBezTo>
                <a:cubicBezTo>
                  <a:pt x="1558" y="527"/>
                  <a:pt x="1572" y="562"/>
                  <a:pt x="1596" y="589"/>
                </a:cubicBezTo>
                <a:cubicBezTo>
                  <a:pt x="1302" y="883"/>
                  <a:pt x="1302" y="883"/>
                  <a:pt x="1302" y="883"/>
                </a:cubicBezTo>
                <a:cubicBezTo>
                  <a:pt x="1310" y="889"/>
                  <a:pt x="1317" y="897"/>
                  <a:pt x="1324" y="904"/>
                </a:cubicBezTo>
                <a:cubicBezTo>
                  <a:pt x="1618" y="610"/>
                  <a:pt x="1618" y="610"/>
                  <a:pt x="1618" y="610"/>
                </a:cubicBezTo>
                <a:cubicBezTo>
                  <a:pt x="1639" y="625"/>
                  <a:pt x="1664" y="636"/>
                  <a:pt x="1691" y="640"/>
                </a:cubicBezTo>
                <a:cubicBezTo>
                  <a:pt x="1678" y="771"/>
                  <a:pt x="1678" y="771"/>
                  <a:pt x="1678" y="771"/>
                </a:cubicBezTo>
                <a:cubicBezTo>
                  <a:pt x="1623" y="777"/>
                  <a:pt x="1581" y="823"/>
                  <a:pt x="1581" y="879"/>
                </a:cubicBezTo>
                <a:cubicBezTo>
                  <a:pt x="1581" y="891"/>
                  <a:pt x="1583" y="903"/>
                  <a:pt x="1586" y="914"/>
                </a:cubicBezTo>
                <a:cubicBezTo>
                  <a:pt x="1385" y="997"/>
                  <a:pt x="1385" y="997"/>
                  <a:pt x="1385" y="997"/>
                </a:cubicBezTo>
                <a:cubicBezTo>
                  <a:pt x="1387" y="1003"/>
                  <a:pt x="1390" y="1008"/>
                  <a:pt x="1392" y="1014"/>
                </a:cubicBezTo>
                <a:cubicBezTo>
                  <a:pt x="1593" y="930"/>
                  <a:pt x="1593" y="930"/>
                  <a:pt x="1593" y="930"/>
                </a:cubicBezTo>
                <a:cubicBezTo>
                  <a:pt x="1612" y="965"/>
                  <a:pt x="1648" y="989"/>
                  <a:pt x="1690" y="989"/>
                </a:cubicBezTo>
                <a:cubicBezTo>
                  <a:pt x="1719" y="989"/>
                  <a:pt x="1745" y="978"/>
                  <a:pt x="1764" y="960"/>
                </a:cubicBezTo>
                <a:cubicBezTo>
                  <a:pt x="1983" y="1078"/>
                  <a:pt x="1983" y="1078"/>
                  <a:pt x="1983" y="1078"/>
                </a:cubicBezTo>
                <a:cubicBezTo>
                  <a:pt x="1978" y="1092"/>
                  <a:pt x="1974" y="1107"/>
                  <a:pt x="1973" y="1123"/>
                </a:cubicBezTo>
                <a:cubicBezTo>
                  <a:pt x="1414" y="1123"/>
                  <a:pt x="1414" y="1123"/>
                  <a:pt x="1414" y="1123"/>
                </a:cubicBezTo>
                <a:cubicBezTo>
                  <a:pt x="1415" y="1128"/>
                  <a:pt x="1415" y="1133"/>
                  <a:pt x="1415" y="1138"/>
                </a:cubicBezTo>
                <a:cubicBezTo>
                  <a:pt x="1415" y="1143"/>
                  <a:pt x="1415" y="1148"/>
                  <a:pt x="1414" y="1153"/>
                </a:cubicBezTo>
                <a:cubicBezTo>
                  <a:pt x="1973" y="1153"/>
                  <a:pt x="1973" y="1153"/>
                  <a:pt x="1973" y="1153"/>
                </a:cubicBezTo>
                <a:cubicBezTo>
                  <a:pt x="1978" y="1193"/>
                  <a:pt x="1998" y="1229"/>
                  <a:pt x="2028" y="1253"/>
                </a:cubicBezTo>
                <a:lnTo>
                  <a:pt x="1940" y="1369"/>
                </a:lnTo>
                <a:close/>
                <a:moveTo>
                  <a:pt x="1350" y="1031"/>
                </a:moveTo>
                <a:cubicBezTo>
                  <a:pt x="1348" y="1025"/>
                  <a:pt x="1345" y="1020"/>
                  <a:pt x="1343" y="1014"/>
                </a:cubicBezTo>
                <a:cubicBezTo>
                  <a:pt x="1330" y="985"/>
                  <a:pt x="1313" y="959"/>
                  <a:pt x="1292" y="936"/>
                </a:cubicBezTo>
                <a:cubicBezTo>
                  <a:pt x="1285" y="928"/>
                  <a:pt x="1278" y="921"/>
                  <a:pt x="1270" y="915"/>
                </a:cubicBezTo>
                <a:cubicBezTo>
                  <a:pt x="1247" y="894"/>
                  <a:pt x="1221" y="876"/>
                  <a:pt x="1192" y="863"/>
                </a:cubicBezTo>
                <a:cubicBezTo>
                  <a:pt x="1186" y="861"/>
                  <a:pt x="1181" y="858"/>
                  <a:pt x="1175" y="856"/>
                </a:cubicBezTo>
                <a:cubicBezTo>
                  <a:pt x="1147" y="845"/>
                  <a:pt x="1116" y="839"/>
                  <a:pt x="1083" y="837"/>
                </a:cubicBezTo>
                <a:cubicBezTo>
                  <a:pt x="1079" y="837"/>
                  <a:pt x="1073" y="837"/>
                  <a:pt x="1068" y="837"/>
                </a:cubicBezTo>
                <a:cubicBezTo>
                  <a:pt x="1063" y="837"/>
                  <a:pt x="1058" y="837"/>
                  <a:pt x="1053" y="837"/>
                </a:cubicBezTo>
                <a:cubicBezTo>
                  <a:pt x="1021" y="839"/>
                  <a:pt x="990" y="845"/>
                  <a:pt x="962" y="856"/>
                </a:cubicBezTo>
                <a:cubicBezTo>
                  <a:pt x="956" y="858"/>
                  <a:pt x="950" y="861"/>
                  <a:pt x="945" y="863"/>
                </a:cubicBezTo>
                <a:cubicBezTo>
                  <a:pt x="916" y="876"/>
                  <a:pt x="890" y="894"/>
                  <a:pt x="866" y="915"/>
                </a:cubicBezTo>
                <a:cubicBezTo>
                  <a:pt x="859" y="921"/>
                  <a:pt x="852" y="928"/>
                  <a:pt x="845" y="936"/>
                </a:cubicBezTo>
                <a:cubicBezTo>
                  <a:pt x="824" y="959"/>
                  <a:pt x="807" y="985"/>
                  <a:pt x="794" y="1014"/>
                </a:cubicBezTo>
                <a:cubicBezTo>
                  <a:pt x="791" y="1020"/>
                  <a:pt x="789" y="1025"/>
                  <a:pt x="787" y="1031"/>
                </a:cubicBezTo>
                <a:cubicBezTo>
                  <a:pt x="776" y="1060"/>
                  <a:pt x="769" y="1091"/>
                  <a:pt x="768" y="1123"/>
                </a:cubicBezTo>
                <a:cubicBezTo>
                  <a:pt x="767" y="1128"/>
                  <a:pt x="767" y="1133"/>
                  <a:pt x="767" y="1138"/>
                </a:cubicBezTo>
                <a:cubicBezTo>
                  <a:pt x="767" y="1143"/>
                  <a:pt x="767" y="1148"/>
                  <a:pt x="768" y="1153"/>
                </a:cubicBezTo>
                <a:cubicBezTo>
                  <a:pt x="769" y="1185"/>
                  <a:pt x="776" y="1216"/>
                  <a:pt x="787" y="1245"/>
                </a:cubicBezTo>
                <a:cubicBezTo>
                  <a:pt x="789" y="1250"/>
                  <a:pt x="791" y="1256"/>
                  <a:pt x="794" y="1261"/>
                </a:cubicBezTo>
                <a:cubicBezTo>
                  <a:pt x="807" y="1290"/>
                  <a:pt x="824" y="1317"/>
                  <a:pt x="845" y="1340"/>
                </a:cubicBezTo>
                <a:cubicBezTo>
                  <a:pt x="852" y="1347"/>
                  <a:pt x="859" y="1354"/>
                  <a:pt x="866" y="1361"/>
                </a:cubicBezTo>
                <a:cubicBezTo>
                  <a:pt x="890" y="1382"/>
                  <a:pt x="916" y="1399"/>
                  <a:pt x="945" y="1412"/>
                </a:cubicBezTo>
                <a:cubicBezTo>
                  <a:pt x="950" y="1415"/>
                  <a:pt x="956" y="1417"/>
                  <a:pt x="962" y="1419"/>
                </a:cubicBezTo>
                <a:cubicBezTo>
                  <a:pt x="990" y="1430"/>
                  <a:pt x="1021" y="1437"/>
                  <a:pt x="1053" y="1439"/>
                </a:cubicBezTo>
                <a:cubicBezTo>
                  <a:pt x="1058" y="1439"/>
                  <a:pt x="1063" y="1439"/>
                  <a:pt x="1068" y="1439"/>
                </a:cubicBezTo>
                <a:cubicBezTo>
                  <a:pt x="1073" y="1439"/>
                  <a:pt x="1079" y="1439"/>
                  <a:pt x="1083" y="1439"/>
                </a:cubicBezTo>
                <a:cubicBezTo>
                  <a:pt x="1116" y="1437"/>
                  <a:pt x="1147" y="1430"/>
                  <a:pt x="1175" y="1419"/>
                </a:cubicBezTo>
                <a:cubicBezTo>
                  <a:pt x="1181" y="1417"/>
                  <a:pt x="1186" y="1415"/>
                  <a:pt x="1192" y="1412"/>
                </a:cubicBezTo>
                <a:cubicBezTo>
                  <a:pt x="1221" y="1399"/>
                  <a:pt x="1247" y="1382"/>
                  <a:pt x="1270" y="1361"/>
                </a:cubicBezTo>
                <a:cubicBezTo>
                  <a:pt x="1278" y="1354"/>
                  <a:pt x="1285" y="1347"/>
                  <a:pt x="1292" y="1340"/>
                </a:cubicBezTo>
                <a:cubicBezTo>
                  <a:pt x="1313" y="1317"/>
                  <a:pt x="1330" y="1290"/>
                  <a:pt x="1343" y="1261"/>
                </a:cubicBezTo>
                <a:cubicBezTo>
                  <a:pt x="1345" y="1256"/>
                  <a:pt x="1348" y="1250"/>
                  <a:pt x="1350" y="1245"/>
                </a:cubicBezTo>
                <a:cubicBezTo>
                  <a:pt x="1361" y="1216"/>
                  <a:pt x="1368" y="1185"/>
                  <a:pt x="1369" y="1153"/>
                </a:cubicBezTo>
                <a:cubicBezTo>
                  <a:pt x="1369" y="1148"/>
                  <a:pt x="1370" y="1143"/>
                  <a:pt x="1370" y="1138"/>
                </a:cubicBezTo>
                <a:cubicBezTo>
                  <a:pt x="1370" y="1133"/>
                  <a:pt x="1369" y="1128"/>
                  <a:pt x="1369" y="1123"/>
                </a:cubicBezTo>
                <a:cubicBezTo>
                  <a:pt x="1368" y="1091"/>
                  <a:pt x="1361" y="1060"/>
                  <a:pt x="1350" y="10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200">
              <a:solidFill>
                <a:srgbClr val="FFFFFF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04331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409303" y="1175040"/>
            <a:ext cx="10759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T1.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 金融数据处理关键技术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3" name="Rectangle 2"/>
          <p:cNvSpPr/>
          <p:nvPr/>
        </p:nvSpPr>
        <p:spPr bwMode="auto">
          <a:xfrm>
            <a:off x="549087" y="1836498"/>
            <a:ext cx="11016837" cy="457076"/>
          </a:xfrm>
          <a:prstGeom prst="rect">
            <a:avLst/>
          </a:prstGeom>
          <a:solidFill>
            <a:srgbClr val="9240D1"/>
          </a:solidFill>
          <a:ln w="38100">
            <a:noFill/>
            <a:miter lim="800000"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/>
        </p:spPr>
        <p:txBody>
          <a:bodyPr vert="horz" wrap="square" lIns="68580" tIns="102875" rIns="68580" bIns="102875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5297" marR="0" lvl="0" indent="-345297" defTabSz="685807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Blip>
                <a:blip r:embed="rId4"/>
              </a:buBlip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"/>
              <a:cs typeface=""/>
            </a:endParaRPr>
          </a:p>
        </p:txBody>
      </p:sp>
      <p:sp>
        <p:nvSpPr>
          <p:cNvPr id="55" name="Rectangle 7"/>
          <p:cNvSpPr/>
          <p:nvPr/>
        </p:nvSpPr>
        <p:spPr>
          <a:xfrm>
            <a:off x="549088" y="1902147"/>
            <a:ext cx="8382002" cy="318553"/>
          </a:xfrm>
          <a:prstGeom prst="rect">
            <a:avLst/>
          </a:prstGeom>
        </p:spPr>
        <p:txBody>
          <a:bodyPr wrap="square" lIns="68583" tIns="34292" rIns="68583" bIns="34292">
            <a:spAutoFit/>
          </a:bodyPr>
          <a:lstStyle/>
          <a:p>
            <a:pPr defTabSz="685807">
              <a:lnSpc>
                <a:spcPct val="90000"/>
              </a:lnSpc>
              <a:spcBef>
                <a:spcPct val="20000"/>
              </a:spcBef>
              <a:buSzPct val="105000"/>
            </a:pPr>
            <a:r>
              <a:rPr lang="en-US" altLang="zh-CN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T1.1</a:t>
            </a:r>
            <a:r>
              <a:rPr lang="zh-CN" altLang="en-US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 金融数据获取</a:t>
            </a:r>
            <a:endParaRPr lang="en-US" dirty="0">
              <a:solidFill>
                <a:srgbClr val="FFFFFF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graphicFrame>
        <p:nvGraphicFramePr>
          <p:cNvPr id="17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8622591"/>
              </p:ext>
            </p:extLst>
          </p:nvPr>
        </p:nvGraphicFramePr>
        <p:xfrm>
          <a:off x="549088" y="2497460"/>
          <a:ext cx="11016835" cy="2143269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465063"/>
                <a:gridCol w="2150076"/>
                <a:gridCol w="2520778"/>
                <a:gridCol w="4880918"/>
              </a:tblGrid>
              <a:tr h="4743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数据供应商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数据供应商主页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数据获取方式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简介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4113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err="1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Quandl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https://</a:t>
                      </a:r>
                      <a:r>
                        <a:rPr lang="en-US" sz="1100" b="0" i="0" dirty="0" err="1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www.quandl.com</a:t>
                      </a:r>
                      <a:r>
                        <a:rPr 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/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Web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 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Service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 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API</a:t>
                      </a:r>
                      <a:endParaRPr lang="zh-CN" altLang="en-US" sz="1100" b="0" i="0" dirty="0" smtClean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Python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 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API</a:t>
                      </a:r>
                      <a:endParaRPr lang="zh-CN" altLang="en-US" sz="1100" b="0" i="0" dirty="0" smtClean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R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 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API</a:t>
                      </a:r>
                      <a:endParaRPr lang="zh-CN" altLang="en-US" sz="1100" b="0" i="0" dirty="0" smtClean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Excel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 插件</a:t>
                      </a:r>
                    </a:p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直接下载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国外的数据供应商，部分数据免费，部分数据收费，全英文。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  <a:tr h="3582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err="1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TuShare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http://</a:t>
                      </a:r>
                      <a:r>
                        <a:rPr lang="en-US" sz="1100" b="0" i="0" dirty="0" err="1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tushare.org</a:t>
                      </a:r>
                      <a:r>
                        <a:rPr 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/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baseline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Python</a:t>
                      </a:r>
                      <a:r>
                        <a:rPr lang="zh-CN" altLang="en-US" sz="1100" b="0" i="0" baseline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 </a:t>
                      </a:r>
                      <a:r>
                        <a:rPr lang="en-US" altLang="zh-CN" sz="1100" b="0" i="0" baseline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API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国内免费的个人数据提供者，质量不错，很多国内宽客都用他的数据。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  <a:tr h="3502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优矿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https://</a:t>
                      </a:r>
                      <a:r>
                        <a:rPr lang="en-US" sz="1100" b="0" i="0" dirty="0" err="1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uqer.io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/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Python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 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API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国内公开的量化研究平台，而且提供免费数据下载，目前所知的其他平台都不提供数据下载。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3"/>
          <p:cNvSpPr txBox="1"/>
          <p:nvPr/>
        </p:nvSpPr>
        <p:spPr>
          <a:xfrm>
            <a:off x="549087" y="4864332"/>
            <a:ext cx="11016836" cy="554004"/>
          </a:xfrm>
          <a:prstGeom prst="rect">
            <a:avLst/>
          </a:prstGeom>
          <a:noFill/>
        </p:spPr>
        <p:txBody>
          <a:bodyPr wrap="square" lIns="68583" tIns="68583" rIns="68583" bIns="68583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初步决定，</a:t>
            </a:r>
            <a:r>
              <a:rPr lang="en-US" altLang="zh-CN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3</a:t>
            </a:r>
            <a:r>
              <a:rPr lang="zh-CN" altLang="en-US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个数据源的数据都获取，并对结果进行</a:t>
            </a:r>
            <a:r>
              <a:rPr lang="zh-CN" altLang="en-US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适配，规整为系统内部统一的格式，并且对格式归一后的数据进行交叉比对验证，以保证数据的有效性和一致性。</a:t>
            </a:r>
            <a:endParaRPr lang="en-US" sz="15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1393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5" grpId="0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061011" y="1203263"/>
            <a:ext cx="6925235" cy="1277470"/>
          </a:xfrm>
          <a:prstGeom prst="rect">
            <a:avLst/>
          </a:prstGeom>
          <a:solidFill>
            <a:srgbClr val="4B89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Freeform 88"/>
          <p:cNvSpPr>
            <a:spLocks noEditPoints="1"/>
          </p:cNvSpPr>
          <p:nvPr/>
        </p:nvSpPr>
        <p:spPr bwMode="auto">
          <a:xfrm rot="5400000">
            <a:off x="9989749" y="1481997"/>
            <a:ext cx="720189" cy="720002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4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403914" y="1379578"/>
            <a:ext cx="34558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目录</a:t>
            </a:r>
          </a:p>
        </p:txBody>
      </p:sp>
      <p:sp>
        <p:nvSpPr>
          <p:cNvPr id="15" name="矩形 14"/>
          <p:cNvSpPr/>
          <p:nvPr/>
        </p:nvSpPr>
        <p:spPr>
          <a:xfrm>
            <a:off x="4061011" y="2622816"/>
            <a:ext cx="6925236" cy="32272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1156446" y="1203263"/>
            <a:ext cx="2729754" cy="127747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1156448" y="2634178"/>
            <a:ext cx="2729752" cy="3215932"/>
          </a:xfrm>
          <a:prstGeom prst="rect">
            <a:avLst/>
          </a:prstGeom>
          <a:solidFill>
            <a:srgbClr val="4B89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57299" y="1689776"/>
            <a:ext cx="25280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3000" dirty="0" smtClean="0">
                <a:solidFill>
                  <a:srgbClr val="0070C0"/>
                </a:solidFill>
              </a:rPr>
              <a:t>Project</a:t>
            </a:r>
            <a:r>
              <a:rPr kumimoji="1" lang="zh-CN" altLang="en-US" sz="3000" dirty="0" smtClean="0">
                <a:solidFill>
                  <a:srgbClr val="0070C0"/>
                </a:solidFill>
              </a:rPr>
              <a:t> </a:t>
            </a:r>
            <a:r>
              <a:rPr kumimoji="1" lang="en-US" altLang="zh-CN" sz="3000" dirty="0" smtClean="0">
                <a:solidFill>
                  <a:srgbClr val="0070C0"/>
                </a:solidFill>
              </a:rPr>
              <a:t>Stellar</a:t>
            </a:r>
            <a:endParaRPr kumimoji="1" lang="zh-CN" altLang="en-US" sz="3000" dirty="0" smtClean="0">
              <a:solidFill>
                <a:srgbClr val="0070C0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379640" y="1449017"/>
            <a:ext cx="1347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 smtClean="0">
                <a:solidFill>
                  <a:schemeClr val="bg2">
                    <a:lumMod val="50000"/>
                  </a:schemeClr>
                </a:solidFill>
              </a:rPr>
              <a:t>SCITLAS</a:t>
            </a:r>
            <a:endParaRPr kumimoji="1" lang="zh-CN" altLang="en-US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2" name="Freeform 68"/>
          <p:cNvSpPr>
            <a:spLocks noChangeAspect="1" noEditPoints="1"/>
          </p:cNvSpPr>
          <p:nvPr/>
        </p:nvSpPr>
        <p:spPr bwMode="auto">
          <a:xfrm>
            <a:off x="1972503" y="3574013"/>
            <a:ext cx="1110332" cy="1247842"/>
          </a:xfrm>
          <a:custGeom>
            <a:avLst/>
            <a:gdLst>
              <a:gd name="T0" fmla="*/ 26 w 368"/>
              <a:gd name="T1" fmla="*/ 0 h 414"/>
              <a:gd name="T2" fmla="*/ 19 w 368"/>
              <a:gd name="T3" fmla="*/ 30 h 414"/>
              <a:gd name="T4" fmla="*/ 19 w 368"/>
              <a:gd name="T5" fmla="*/ 65 h 414"/>
              <a:gd name="T6" fmla="*/ 0 w 368"/>
              <a:gd name="T7" fmla="*/ 102 h 414"/>
              <a:gd name="T8" fmla="*/ 19 w 368"/>
              <a:gd name="T9" fmla="*/ 138 h 414"/>
              <a:gd name="T10" fmla="*/ 19 w 368"/>
              <a:gd name="T11" fmla="*/ 173 h 414"/>
              <a:gd name="T12" fmla="*/ 0 w 368"/>
              <a:gd name="T13" fmla="*/ 210 h 414"/>
              <a:gd name="T14" fmla="*/ 19 w 368"/>
              <a:gd name="T15" fmla="*/ 247 h 414"/>
              <a:gd name="T16" fmla="*/ 19 w 368"/>
              <a:gd name="T17" fmla="*/ 281 h 414"/>
              <a:gd name="T18" fmla="*/ 0 w 368"/>
              <a:gd name="T19" fmla="*/ 318 h 414"/>
              <a:gd name="T20" fmla="*/ 19 w 368"/>
              <a:gd name="T21" fmla="*/ 355 h 414"/>
              <a:gd name="T22" fmla="*/ 19 w 368"/>
              <a:gd name="T23" fmla="*/ 390 h 414"/>
              <a:gd name="T24" fmla="*/ 26 w 368"/>
              <a:gd name="T25" fmla="*/ 414 h 414"/>
              <a:gd name="T26" fmla="*/ 368 w 368"/>
              <a:gd name="T27" fmla="*/ 340 h 414"/>
              <a:gd name="T28" fmla="*/ 294 w 368"/>
              <a:gd name="T29" fmla="*/ 0 h 414"/>
              <a:gd name="T30" fmla="*/ 19 w 368"/>
              <a:gd name="T31" fmla="*/ 45 h 414"/>
              <a:gd name="T32" fmla="*/ 15 w 368"/>
              <a:gd name="T33" fmla="*/ 47 h 414"/>
              <a:gd name="T34" fmla="*/ 19 w 368"/>
              <a:gd name="T35" fmla="*/ 99 h 414"/>
              <a:gd name="T36" fmla="*/ 15 w 368"/>
              <a:gd name="T37" fmla="*/ 102 h 414"/>
              <a:gd name="T38" fmla="*/ 19 w 368"/>
              <a:gd name="T39" fmla="*/ 154 h 414"/>
              <a:gd name="T40" fmla="*/ 15 w 368"/>
              <a:gd name="T41" fmla="*/ 156 h 414"/>
              <a:gd name="T42" fmla="*/ 19 w 368"/>
              <a:gd name="T43" fmla="*/ 208 h 414"/>
              <a:gd name="T44" fmla="*/ 15 w 368"/>
              <a:gd name="T45" fmla="*/ 210 h 414"/>
              <a:gd name="T46" fmla="*/ 19 w 368"/>
              <a:gd name="T47" fmla="*/ 262 h 414"/>
              <a:gd name="T48" fmla="*/ 15 w 368"/>
              <a:gd name="T49" fmla="*/ 264 h 414"/>
              <a:gd name="T50" fmla="*/ 19 w 368"/>
              <a:gd name="T51" fmla="*/ 316 h 414"/>
              <a:gd name="T52" fmla="*/ 15 w 368"/>
              <a:gd name="T53" fmla="*/ 318 h 414"/>
              <a:gd name="T54" fmla="*/ 19 w 368"/>
              <a:gd name="T55" fmla="*/ 370 h 414"/>
              <a:gd name="T56" fmla="*/ 15 w 368"/>
              <a:gd name="T57" fmla="*/ 373 h 414"/>
              <a:gd name="T58" fmla="*/ 294 w 368"/>
              <a:gd name="T59" fmla="*/ 400 h 414"/>
              <a:gd name="T60" fmla="*/ 34 w 368"/>
              <a:gd name="T61" fmla="*/ 370 h 414"/>
              <a:gd name="T62" fmla="*/ 38 w 368"/>
              <a:gd name="T63" fmla="*/ 378 h 414"/>
              <a:gd name="T64" fmla="*/ 50 w 368"/>
              <a:gd name="T65" fmla="*/ 364 h 414"/>
              <a:gd name="T66" fmla="*/ 34 w 368"/>
              <a:gd name="T67" fmla="*/ 316 h 414"/>
              <a:gd name="T68" fmla="*/ 38 w 368"/>
              <a:gd name="T69" fmla="*/ 324 h 414"/>
              <a:gd name="T70" fmla="*/ 50 w 368"/>
              <a:gd name="T71" fmla="*/ 310 h 414"/>
              <a:gd name="T72" fmla="*/ 34 w 368"/>
              <a:gd name="T73" fmla="*/ 262 h 414"/>
              <a:gd name="T74" fmla="*/ 38 w 368"/>
              <a:gd name="T75" fmla="*/ 269 h 414"/>
              <a:gd name="T76" fmla="*/ 50 w 368"/>
              <a:gd name="T77" fmla="*/ 256 h 414"/>
              <a:gd name="T78" fmla="*/ 34 w 368"/>
              <a:gd name="T79" fmla="*/ 208 h 414"/>
              <a:gd name="T80" fmla="*/ 38 w 368"/>
              <a:gd name="T81" fmla="*/ 215 h 414"/>
              <a:gd name="T82" fmla="*/ 50 w 368"/>
              <a:gd name="T83" fmla="*/ 202 h 414"/>
              <a:gd name="T84" fmla="*/ 34 w 368"/>
              <a:gd name="T85" fmla="*/ 154 h 414"/>
              <a:gd name="T86" fmla="*/ 38 w 368"/>
              <a:gd name="T87" fmla="*/ 161 h 414"/>
              <a:gd name="T88" fmla="*/ 50 w 368"/>
              <a:gd name="T89" fmla="*/ 148 h 414"/>
              <a:gd name="T90" fmla="*/ 34 w 368"/>
              <a:gd name="T91" fmla="*/ 100 h 414"/>
              <a:gd name="T92" fmla="*/ 38 w 368"/>
              <a:gd name="T93" fmla="*/ 107 h 414"/>
              <a:gd name="T94" fmla="*/ 50 w 368"/>
              <a:gd name="T95" fmla="*/ 94 h 414"/>
              <a:gd name="T96" fmla="*/ 34 w 368"/>
              <a:gd name="T97" fmla="*/ 45 h 414"/>
              <a:gd name="T98" fmla="*/ 38 w 368"/>
              <a:gd name="T99" fmla="*/ 53 h 414"/>
              <a:gd name="T100" fmla="*/ 50 w 368"/>
              <a:gd name="T101" fmla="*/ 39 h 414"/>
              <a:gd name="T102" fmla="*/ 34 w 368"/>
              <a:gd name="T103" fmla="*/ 15 h 414"/>
              <a:gd name="T104" fmla="*/ 353 w 368"/>
              <a:gd name="T105" fmla="*/ 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8" h="414">
                <a:moveTo>
                  <a:pt x="294" y="0"/>
                </a:moveTo>
                <a:cubicBezTo>
                  <a:pt x="26" y="0"/>
                  <a:pt x="26" y="0"/>
                  <a:pt x="26" y="0"/>
                </a:cubicBezTo>
                <a:cubicBezTo>
                  <a:pt x="22" y="0"/>
                  <a:pt x="19" y="3"/>
                  <a:pt x="19" y="7"/>
                </a:cubicBezTo>
                <a:cubicBezTo>
                  <a:pt x="19" y="30"/>
                  <a:pt x="19" y="30"/>
                  <a:pt x="19" y="30"/>
                </a:cubicBezTo>
                <a:cubicBezTo>
                  <a:pt x="8" y="32"/>
                  <a:pt x="0" y="39"/>
                  <a:pt x="0" y="47"/>
                </a:cubicBezTo>
                <a:cubicBezTo>
                  <a:pt x="0" y="56"/>
                  <a:pt x="8" y="63"/>
                  <a:pt x="19" y="65"/>
                </a:cubicBezTo>
                <a:cubicBezTo>
                  <a:pt x="19" y="84"/>
                  <a:pt x="19" y="84"/>
                  <a:pt x="19" y="84"/>
                </a:cubicBezTo>
                <a:cubicBezTo>
                  <a:pt x="8" y="86"/>
                  <a:pt x="0" y="93"/>
                  <a:pt x="0" y="102"/>
                </a:cubicBezTo>
                <a:cubicBezTo>
                  <a:pt x="0" y="110"/>
                  <a:pt x="8" y="117"/>
                  <a:pt x="19" y="119"/>
                </a:cubicBezTo>
                <a:cubicBezTo>
                  <a:pt x="19" y="138"/>
                  <a:pt x="19" y="138"/>
                  <a:pt x="19" y="138"/>
                </a:cubicBezTo>
                <a:cubicBezTo>
                  <a:pt x="8" y="141"/>
                  <a:pt x="0" y="147"/>
                  <a:pt x="0" y="156"/>
                </a:cubicBezTo>
                <a:cubicBezTo>
                  <a:pt x="0" y="164"/>
                  <a:pt x="8" y="171"/>
                  <a:pt x="19" y="173"/>
                </a:cubicBezTo>
                <a:cubicBezTo>
                  <a:pt x="19" y="193"/>
                  <a:pt x="19" y="193"/>
                  <a:pt x="19" y="193"/>
                </a:cubicBezTo>
                <a:cubicBezTo>
                  <a:pt x="8" y="195"/>
                  <a:pt x="0" y="201"/>
                  <a:pt x="0" y="210"/>
                </a:cubicBezTo>
                <a:cubicBezTo>
                  <a:pt x="0" y="218"/>
                  <a:pt x="8" y="225"/>
                  <a:pt x="19" y="227"/>
                </a:cubicBezTo>
                <a:cubicBezTo>
                  <a:pt x="19" y="247"/>
                  <a:pt x="19" y="247"/>
                  <a:pt x="19" y="247"/>
                </a:cubicBezTo>
                <a:cubicBezTo>
                  <a:pt x="8" y="249"/>
                  <a:pt x="0" y="256"/>
                  <a:pt x="0" y="264"/>
                </a:cubicBezTo>
                <a:cubicBezTo>
                  <a:pt x="0" y="273"/>
                  <a:pt x="8" y="279"/>
                  <a:pt x="19" y="281"/>
                </a:cubicBezTo>
                <a:cubicBezTo>
                  <a:pt x="19" y="301"/>
                  <a:pt x="19" y="301"/>
                  <a:pt x="19" y="301"/>
                </a:cubicBezTo>
                <a:cubicBezTo>
                  <a:pt x="8" y="303"/>
                  <a:pt x="0" y="310"/>
                  <a:pt x="0" y="318"/>
                </a:cubicBezTo>
                <a:cubicBezTo>
                  <a:pt x="0" y="327"/>
                  <a:pt x="8" y="334"/>
                  <a:pt x="19" y="336"/>
                </a:cubicBezTo>
                <a:cubicBezTo>
                  <a:pt x="19" y="355"/>
                  <a:pt x="19" y="355"/>
                  <a:pt x="19" y="355"/>
                </a:cubicBezTo>
                <a:cubicBezTo>
                  <a:pt x="8" y="357"/>
                  <a:pt x="0" y="364"/>
                  <a:pt x="0" y="373"/>
                </a:cubicBezTo>
                <a:cubicBezTo>
                  <a:pt x="0" y="381"/>
                  <a:pt x="8" y="388"/>
                  <a:pt x="19" y="390"/>
                </a:cubicBezTo>
                <a:cubicBezTo>
                  <a:pt x="19" y="407"/>
                  <a:pt x="19" y="407"/>
                  <a:pt x="19" y="407"/>
                </a:cubicBezTo>
                <a:cubicBezTo>
                  <a:pt x="19" y="411"/>
                  <a:pt x="22" y="414"/>
                  <a:pt x="26" y="414"/>
                </a:cubicBezTo>
                <a:cubicBezTo>
                  <a:pt x="294" y="414"/>
                  <a:pt x="294" y="414"/>
                  <a:pt x="294" y="414"/>
                </a:cubicBezTo>
                <a:cubicBezTo>
                  <a:pt x="335" y="414"/>
                  <a:pt x="368" y="381"/>
                  <a:pt x="368" y="340"/>
                </a:cubicBezTo>
                <a:cubicBezTo>
                  <a:pt x="368" y="74"/>
                  <a:pt x="368" y="74"/>
                  <a:pt x="368" y="74"/>
                </a:cubicBezTo>
                <a:cubicBezTo>
                  <a:pt x="368" y="33"/>
                  <a:pt x="335" y="0"/>
                  <a:pt x="294" y="0"/>
                </a:cubicBezTo>
                <a:close/>
                <a:moveTo>
                  <a:pt x="15" y="47"/>
                </a:moveTo>
                <a:cubicBezTo>
                  <a:pt x="15" y="47"/>
                  <a:pt x="17" y="46"/>
                  <a:pt x="19" y="45"/>
                </a:cubicBezTo>
                <a:cubicBezTo>
                  <a:pt x="19" y="50"/>
                  <a:pt x="19" y="50"/>
                  <a:pt x="19" y="50"/>
                </a:cubicBezTo>
                <a:cubicBezTo>
                  <a:pt x="17" y="49"/>
                  <a:pt x="15" y="48"/>
                  <a:pt x="15" y="47"/>
                </a:cubicBezTo>
                <a:close/>
                <a:moveTo>
                  <a:pt x="15" y="102"/>
                </a:moveTo>
                <a:cubicBezTo>
                  <a:pt x="15" y="101"/>
                  <a:pt x="17" y="100"/>
                  <a:pt x="19" y="99"/>
                </a:cubicBezTo>
                <a:cubicBezTo>
                  <a:pt x="19" y="104"/>
                  <a:pt x="19" y="104"/>
                  <a:pt x="19" y="104"/>
                </a:cubicBezTo>
                <a:cubicBezTo>
                  <a:pt x="17" y="103"/>
                  <a:pt x="15" y="102"/>
                  <a:pt x="15" y="102"/>
                </a:cubicBezTo>
                <a:close/>
                <a:moveTo>
                  <a:pt x="15" y="156"/>
                </a:moveTo>
                <a:cubicBezTo>
                  <a:pt x="15" y="155"/>
                  <a:pt x="17" y="154"/>
                  <a:pt x="19" y="154"/>
                </a:cubicBezTo>
                <a:cubicBezTo>
                  <a:pt x="19" y="158"/>
                  <a:pt x="19" y="158"/>
                  <a:pt x="19" y="158"/>
                </a:cubicBezTo>
                <a:cubicBezTo>
                  <a:pt x="17" y="157"/>
                  <a:pt x="15" y="156"/>
                  <a:pt x="15" y="156"/>
                </a:cubicBezTo>
                <a:close/>
                <a:moveTo>
                  <a:pt x="15" y="210"/>
                </a:moveTo>
                <a:cubicBezTo>
                  <a:pt x="15" y="209"/>
                  <a:pt x="17" y="209"/>
                  <a:pt x="19" y="208"/>
                </a:cubicBezTo>
                <a:cubicBezTo>
                  <a:pt x="19" y="212"/>
                  <a:pt x="19" y="212"/>
                  <a:pt x="19" y="212"/>
                </a:cubicBezTo>
                <a:cubicBezTo>
                  <a:pt x="17" y="211"/>
                  <a:pt x="15" y="211"/>
                  <a:pt x="15" y="210"/>
                </a:cubicBezTo>
                <a:close/>
                <a:moveTo>
                  <a:pt x="15" y="264"/>
                </a:moveTo>
                <a:cubicBezTo>
                  <a:pt x="15" y="264"/>
                  <a:pt x="17" y="263"/>
                  <a:pt x="19" y="262"/>
                </a:cubicBezTo>
                <a:cubicBezTo>
                  <a:pt x="19" y="266"/>
                  <a:pt x="19" y="266"/>
                  <a:pt x="19" y="266"/>
                </a:cubicBezTo>
                <a:cubicBezTo>
                  <a:pt x="17" y="266"/>
                  <a:pt x="15" y="265"/>
                  <a:pt x="15" y="264"/>
                </a:cubicBezTo>
                <a:close/>
                <a:moveTo>
                  <a:pt x="15" y="318"/>
                </a:moveTo>
                <a:cubicBezTo>
                  <a:pt x="15" y="318"/>
                  <a:pt x="17" y="317"/>
                  <a:pt x="19" y="316"/>
                </a:cubicBezTo>
                <a:cubicBezTo>
                  <a:pt x="19" y="321"/>
                  <a:pt x="19" y="321"/>
                  <a:pt x="19" y="321"/>
                </a:cubicBezTo>
                <a:cubicBezTo>
                  <a:pt x="17" y="320"/>
                  <a:pt x="15" y="319"/>
                  <a:pt x="15" y="318"/>
                </a:cubicBezTo>
                <a:close/>
                <a:moveTo>
                  <a:pt x="15" y="373"/>
                </a:moveTo>
                <a:cubicBezTo>
                  <a:pt x="15" y="372"/>
                  <a:pt x="17" y="371"/>
                  <a:pt x="19" y="370"/>
                </a:cubicBezTo>
                <a:cubicBezTo>
                  <a:pt x="19" y="375"/>
                  <a:pt x="19" y="375"/>
                  <a:pt x="19" y="375"/>
                </a:cubicBezTo>
                <a:cubicBezTo>
                  <a:pt x="17" y="374"/>
                  <a:pt x="15" y="373"/>
                  <a:pt x="15" y="373"/>
                </a:cubicBezTo>
                <a:close/>
                <a:moveTo>
                  <a:pt x="353" y="340"/>
                </a:moveTo>
                <a:cubicBezTo>
                  <a:pt x="353" y="373"/>
                  <a:pt x="326" y="400"/>
                  <a:pt x="294" y="400"/>
                </a:cubicBezTo>
                <a:cubicBezTo>
                  <a:pt x="34" y="400"/>
                  <a:pt x="34" y="400"/>
                  <a:pt x="34" y="400"/>
                </a:cubicBezTo>
                <a:cubicBezTo>
                  <a:pt x="34" y="370"/>
                  <a:pt x="34" y="370"/>
                  <a:pt x="34" y="370"/>
                </a:cubicBezTo>
                <a:cubicBezTo>
                  <a:pt x="36" y="371"/>
                  <a:pt x="37" y="372"/>
                  <a:pt x="38" y="373"/>
                </a:cubicBezTo>
                <a:cubicBezTo>
                  <a:pt x="38" y="374"/>
                  <a:pt x="39" y="375"/>
                  <a:pt x="38" y="378"/>
                </a:cubicBezTo>
                <a:cubicBezTo>
                  <a:pt x="52" y="382"/>
                  <a:pt x="52" y="382"/>
                  <a:pt x="52" y="382"/>
                </a:cubicBezTo>
                <a:cubicBezTo>
                  <a:pt x="55" y="374"/>
                  <a:pt x="52" y="368"/>
                  <a:pt x="50" y="364"/>
                </a:cubicBezTo>
                <a:cubicBezTo>
                  <a:pt x="46" y="360"/>
                  <a:pt x="41" y="357"/>
                  <a:pt x="34" y="355"/>
                </a:cubicBezTo>
                <a:cubicBezTo>
                  <a:pt x="34" y="316"/>
                  <a:pt x="34" y="316"/>
                  <a:pt x="34" y="316"/>
                </a:cubicBezTo>
                <a:cubicBezTo>
                  <a:pt x="36" y="317"/>
                  <a:pt x="37" y="318"/>
                  <a:pt x="38" y="319"/>
                </a:cubicBezTo>
                <a:cubicBezTo>
                  <a:pt x="38" y="319"/>
                  <a:pt x="39" y="321"/>
                  <a:pt x="38" y="324"/>
                </a:cubicBezTo>
                <a:cubicBezTo>
                  <a:pt x="52" y="328"/>
                  <a:pt x="52" y="328"/>
                  <a:pt x="52" y="328"/>
                </a:cubicBezTo>
                <a:cubicBezTo>
                  <a:pt x="55" y="320"/>
                  <a:pt x="52" y="314"/>
                  <a:pt x="50" y="310"/>
                </a:cubicBezTo>
                <a:cubicBezTo>
                  <a:pt x="46" y="306"/>
                  <a:pt x="41" y="302"/>
                  <a:pt x="34" y="301"/>
                </a:cubicBezTo>
                <a:cubicBezTo>
                  <a:pt x="34" y="262"/>
                  <a:pt x="34" y="262"/>
                  <a:pt x="34" y="262"/>
                </a:cubicBezTo>
                <a:cubicBezTo>
                  <a:pt x="36" y="263"/>
                  <a:pt x="37" y="264"/>
                  <a:pt x="38" y="265"/>
                </a:cubicBezTo>
                <a:cubicBezTo>
                  <a:pt x="38" y="265"/>
                  <a:pt x="39" y="266"/>
                  <a:pt x="38" y="269"/>
                </a:cubicBezTo>
                <a:cubicBezTo>
                  <a:pt x="52" y="274"/>
                  <a:pt x="52" y="274"/>
                  <a:pt x="52" y="274"/>
                </a:cubicBezTo>
                <a:cubicBezTo>
                  <a:pt x="55" y="265"/>
                  <a:pt x="52" y="260"/>
                  <a:pt x="50" y="256"/>
                </a:cubicBezTo>
                <a:cubicBezTo>
                  <a:pt x="46" y="251"/>
                  <a:pt x="41" y="248"/>
                  <a:pt x="34" y="247"/>
                </a:cubicBezTo>
                <a:cubicBezTo>
                  <a:pt x="34" y="208"/>
                  <a:pt x="34" y="208"/>
                  <a:pt x="34" y="208"/>
                </a:cubicBezTo>
                <a:cubicBezTo>
                  <a:pt x="36" y="209"/>
                  <a:pt x="37" y="210"/>
                  <a:pt x="38" y="211"/>
                </a:cubicBezTo>
                <a:cubicBezTo>
                  <a:pt x="38" y="211"/>
                  <a:pt x="39" y="212"/>
                  <a:pt x="38" y="215"/>
                </a:cubicBezTo>
                <a:cubicBezTo>
                  <a:pt x="52" y="220"/>
                  <a:pt x="52" y="220"/>
                  <a:pt x="52" y="220"/>
                </a:cubicBezTo>
                <a:cubicBezTo>
                  <a:pt x="55" y="211"/>
                  <a:pt x="52" y="205"/>
                  <a:pt x="50" y="202"/>
                </a:cubicBezTo>
                <a:cubicBezTo>
                  <a:pt x="46" y="197"/>
                  <a:pt x="41" y="194"/>
                  <a:pt x="34" y="193"/>
                </a:cubicBezTo>
                <a:cubicBezTo>
                  <a:pt x="34" y="154"/>
                  <a:pt x="34" y="154"/>
                  <a:pt x="34" y="154"/>
                </a:cubicBezTo>
                <a:cubicBezTo>
                  <a:pt x="36" y="154"/>
                  <a:pt x="37" y="155"/>
                  <a:pt x="38" y="157"/>
                </a:cubicBezTo>
                <a:cubicBezTo>
                  <a:pt x="38" y="157"/>
                  <a:pt x="39" y="158"/>
                  <a:pt x="38" y="161"/>
                </a:cubicBezTo>
                <a:cubicBezTo>
                  <a:pt x="52" y="165"/>
                  <a:pt x="52" y="165"/>
                  <a:pt x="52" y="165"/>
                </a:cubicBezTo>
                <a:cubicBezTo>
                  <a:pt x="55" y="157"/>
                  <a:pt x="52" y="151"/>
                  <a:pt x="50" y="148"/>
                </a:cubicBezTo>
                <a:cubicBezTo>
                  <a:pt x="46" y="143"/>
                  <a:pt x="41" y="140"/>
                  <a:pt x="34" y="138"/>
                </a:cubicBezTo>
                <a:cubicBezTo>
                  <a:pt x="34" y="100"/>
                  <a:pt x="34" y="100"/>
                  <a:pt x="34" y="100"/>
                </a:cubicBezTo>
                <a:cubicBezTo>
                  <a:pt x="36" y="100"/>
                  <a:pt x="37" y="101"/>
                  <a:pt x="38" y="102"/>
                </a:cubicBezTo>
                <a:cubicBezTo>
                  <a:pt x="38" y="103"/>
                  <a:pt x="39" y="104"/>
                  <a:pt x="38" y="107"/>
                </a:cubicBezTo>
                <a:cubicBezTo>
                  <a:pt x="52" y="111"/>
                  <a:pt x="52" y="111"/>
                  <a:pt x="52" y="111"/>
                </a:cubicBezTo>
                <a:cubicBezTo>
                  <a:pt x="55" y="103"/>
                  <a:pt x="52" y="97"/>
                  <a:pt x="50" y="94"/>
                </a:cubicBezTo>
                <a:cubicBezTo>
                  <a:pt x="46" y="89"/>
                  <a:pt x="41" y="86"/>
                  <a:pt x="34" y="84"/>
                </a:cubicBezTo>
                <a:cubicBezTo>
                  <a:pt x="34" y="45"/>
                  <a:pt x="34" y="45"/>
                  <a:pt x="34" y="45"/>
                </a:cubicBezTo>
                <a:cubicBezTo>
                  <a:pt x="36" y="46"/>
                  <a:pt x="37" y="47"/>
                  <a:pt x="38" y="48"/>
                </a:cubicBezTo>
                <a:cubicBezTo>
                  <a:pt x="38" y="49"/>
                  <a:pt x="39" y="50"/>
                  <a:pt x="38" y="53"/>
                </a:cubicBezTo>
                <a:cubicBezTo>
                  <a:pt x="52" y="57"/>
                  <a:pt x="52" y="57"/>
                  <a:pt x="52" y="57"/>
                </a:cubicBezTo>
                <a:cubicBezTo>
                  <a:pt x="55" y="49"/>
                  <a:pt x="52" y="43"/>
                  <a:pt x="50" y="39"/>
                </a:cubicBezTo>
                <a:cubicBezTo>
                  <a:pt x="46" y="35"/>
                  <a:pt x="41" y="31"/>
                  <a:pt x="34" y="30"/>
                </a:cubicBezTo>
                <a:cubicBezTo>
                  <a:pt x="34" y="15"/>
                  <a:pt x="34" y="15"/>
                  <a:pt x="34" y="15"/>
                </a:cubicBezTo>
                <a:cubicBezTo>
                  <a:pt x="294" y="15"/>
                  <a:pt x="294" y="15"/>
                  <a:pt x="294" y="15"/>
                </a:cubicBezTo>
                <a:cubicBezTo>
                  <a:pt x="326" y="15"/>
                  <a:pt x="353" y="41"/>
                  <a:pt x="353" y="74"/>
                </a:cubicBezTo>
                <a:lnTo>
                  <a:pt x="353" y="3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4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4" name="TextBox 5"/>
          <p:cNvSpPr txBox="1"/>
          <p:nvPr/>
        </p:nvSpPr>
        <p:spPr>
          <a:xfrm>
            <a:off x="4426169" y="2997392"/>
            <a:ext cx="6216441" cy="2502205"/>
          </a:xfrm>
          <a:prstGeom prst="rect">
            <a:avLst/>
          </a:prstGeom>
          <a:noFill/>
        </p:spPr>
        <p:txBody>
          <a:bodyPr wrap="square" lIns="68571" tIns="68571" rIns="68571" bIns="68571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项目背景</a:t>
            </a:r>
            <a:endParaRPr lang="nl-BE" sz="2400" dirty="0" smtClean="0">
              <a:solidFill>
                <a:srgbClr val="4B89F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业务需求</a:t>
            </a:r>
            <a:endParaRPr lang="nl-BE" sz="2400" dirty="0" smtClean="0">
              <a:solidFill>
                <a:srgbClr val="4B89F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关键技术</a:t>
            </a:r>
            <a:endParaRPr lang="nl-BE" sz="2400" dirty="0" smtClean="0">
              <a:solidFill>
                <a:srgbClr val="4B89F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设计方案</a:t>
            </a:r>
            <a:endParaRPr lang="nl-BE" sz="2400" dirty="0" smtClean="0">
              <a:solidFill>
                <a:srgbClr val="4B89F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项目计划</a:t>
            </a:r>
            <a:endParaRPr lang="nl-BE" sz="2400" dirty="0">
              <a:solidFill>
                <a:srgbClr val="4B89F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其他</a:t>
            </a: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事情</a:t>
            </a:r>
            <a:endParaRPr lang="nl-BE" sz="2400" dirty="0">
              <a:solidFill>
                <a:srgbClr val="4B89F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87797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409303" y="1175040"/>
            <a:ext cx="10759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T1.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 金融数据处理关键技术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3" name="Rectangle 2"/>
          <p:cNvSpPr/>
          <p:nvPr/>
        </p:nvSpPr>
        <p:spPr bwMode="auto">
          <a:xfrm>
            <a:off x="549086" y="1836498"/>
            <a:ext cx="11016837" cy="457076"/>
          </a:xfrm>
          <a:prstGeom prst="rect">
            <a:avLst/>
          </a:prstGeom>
          <a:solidFill>
            <a:srgbClr val="9240D1"/>
          </a:solidFill>
          <a:ln w="38100">
            <a:noFill/>
            <a:miter lim="800000"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/>
        </p:spPr>
        <p:txBody>
          <a:bodyPr vert="horz" wrap="square" lIns="68580" tIns="102875" rIns="68580" bIns="102875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5297" marR="0" lvl="0" indent="-345297" defTabSz="685807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Blip>
                <a:blip r:embed="rId4"/>
              </a:buBlip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"/>
              <a:cs typeface=""/>
            </a:endParaRPr>
          </a:p>
        </p:txBody>
      </p:sp>
      <p:sp>
        <p:nvSpPr>
          <p:cNvPr id="55" name="Rectangle 7"/>
          <p:cNvSpPr/>
          <p:nvPr/>
        </p:nvSpPr>
        <p:spPr>
          <a:xfrm>
            <a:off x="549088" y="1902147"/>
            <a:ext cx="8382002" cy="318553"/>
          </a:xfrm>
          <a:prstGeom prst="rect">
            <a:avLst/>
          </a:prstGeom>
        </p:spPr>
        <p:txBody>
          <a:bodyPr wrap="square" lIns="68583" tIns="34292" rIns="68583" bIns="34292">
            <a:spAutoFit/>
          </a:bodyPr>
          <a:lstStyle/>
          <a:p>
            <a:pPr defTabSz="685807">
              <a:lnSpc>
                <a:spcPct val="90000"/>
              </a:lnSpc>
              <a:spcBef>
                <a:spcPct val="20000"/>
              </a:spcBef>
              <a:buSzPct val="105000"/>
            </a:pPr>
            <a:r>
              <a:rPr lang="en-US" altLang="zh-CN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T1.2</a:t>
            </a:r>
            <a:r>
              <a:rPr lang="zh-CN" altLang="en-US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 </a:t>
            </a:r>
            <a:r>
              <a:rPr lang="zh-CN" altLang="en-US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金融</a:t>
            </a:r>
            <a:r>
              <a:rPr lang="zh-CN" altLang="en-US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数据</a:t>
            </a:r>
            <a:r>
              <a:rPr lang="zh-CN" altLang="en-US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存储</a:t>
            </a:r>
            <a:endParaRPr lang="en-US" dirty="0">
              <a:solidFill>
                <a:srgbClr val="FFFFFF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graphicFrame>
        <p:nvGraphicFramePr>
          <p:cNvPr id="17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518732"/>
              </p:ext>
            </p:extLst>
          </p:nvPr>
        </p:nvGraphicFramePr>
        <p:xfrm>
          <a:off x="549087" y="2497460"/>
          <a:ext cx="11016835" cy="2097222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242643"/>
                <a:gridCol w="1853513"/>
                <a:gridCol w="2718487"/>
                <a:gridCol w="2619632"/>
                <a:gridCol w="2582560"/>
              </a:tblGrid>
              <a:tr h="4743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存储方式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备选产品和技术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简介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优点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缺点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4113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数据库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MySQL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成熟的开源关系型数据库，高性能，稳定扎实，久经考验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。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开源，工具丰富，稳定，高事务安全。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应对变更慢，写相对慢，处理非结构化数据性能差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  <a:tr h="358289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err="1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MongoDB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NoSQL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代表，非关系型数据库，面向文档，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JSON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风格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。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写操作快，比较扁平，处理海量非结构化数据性能较好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事务性差，占用空间大，维护工具少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  <a:tr h="35026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csv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科学、商业研究上广泛使用的一种表格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人际间传播比较方便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使用时你还是得加载到内存里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  <a:tr h="350267">
                <a:tc vMerge="1">
                  <a:txBody>
                    <a:bodyPr/>
                    <a:lstStyle/>
                    <a:p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excel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微软的表格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人际间传播比较方便</a:t>
                      </a:r>
                      <a:endParaRPr lang="en-US" altLang="zh-CN" sz="1100" b="0" i="0" dirty="0" smtClean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  <a:p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使用时你还是得加载到内存里，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而且这是微软的格式，处理的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API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有单独一套</a:t>
                      </a:r>
                      <a:endParaRPr lang="en-US" altLang="zh-CN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3"/>
          <p:cNvSpPr txBox="1"/>
          <p:nvPr/>
        </p:nvSpPr>
        <p:spPr>
          <a:xfrm>
            <a:off x="549087" y="4912615"/>
            <a:ext cx="11016835" cy="807920"/>
          </a:xfrm>
          <a:prstGeom prst="rect">
            <a:avLst/>
          </a:prstGeom>
          <a:noFill/>
        </p:spPr>
        <p:txBody>
          <a:bodyPr wrap="square" lIns="68583" tIns="68583" rIns="68583" bIns="68583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初步决定，</a:t>
            </a: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以</a:t>
            </a:r>
            <a:r>
              <a:rPr lang="zh-CN" altLang="en-US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数据库存储方式为主，需要和别人交换数据时再提供导出</a:t>
            </a:r>
            <a:r>
              <a:rPr lang="en-US" altLang="zh-CN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csv/excel</a:t>
            </a:r>
            <a:r>
              <a:rPr lang="zh-CN" altLang="en-US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文件的方式。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对于行情、财报等格式</a:t>
            </a: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比较固定，内部关联明确的信息，采用</a:t>
            </a:r>
            <a:r>
              <a:rPr lang="en-US" altLang="zh-CN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MySQL</a:t>
            </a: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存储；对于从网络上抓取的热点信息，结构化较差，使用</a:t>
            </a:r>
            <a:r>
              <a:rPr lang="en-US" altLang="zh-CN" sz="1500" dirty="0" err="1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MongoDB</a:t>
            </a: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存储。</a:t>
            </a:r>
            <a:endParaRPr lang="en-US" sz="15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05750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5" grpId="0"/>
      <p:bldP spid="1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409303" y="1175040"/>
            <a:ext cx="10759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T1.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 金融数据处理关键技术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53" name="Rectangle 2"/>
          <p:cNvSpPr/>
          <p:nvPr/>
        </p:nvSpPr>
        <p:spPr bwMode="auto">
          <a:xfrm>
            <a:off x="549087" y="1836498"/>
            <a:ext cx="11016837" cy="457076"/>
          </a:xfrm>
          <a:prstGeom prst="rect">
            <a:avLst/>
          </a:prstGeom>
          <a:solidFill>
            <a:srgbClr val="9240D1"/>
          </a:solidFill>
          <a:ln w="38100">
            <a:noFill/>
            <a:miter lim="800000"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/>
        </p:spPr>
        <p:txBody>
          <a:bodyPr vert="horz" wrap="square" lIns="68580" tIns="102875" rIns="68580" bIns="102875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5297" marR="0" lvl="0" indent="-345297" defTabSz="685807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Blip>
                <a:blip r:embed="rId4"/>
              </a:buBlip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"/>
              <a:cs typeface=""/>
            </a:endParaRPr>
          </a:p>
        </p:txBody>
      </p:sp>
      <p:sp>
        <p:nvSpPr>
          <p:cNvPr id="55" name="Rectangle 7"/>
          <p:cNvSpPr/>
          <p:nvPr/>
        </p:nvSpPr>
        <p:spPr>
          <a:xfrm>
            <a:off x="549088" y="1902147"/>
            <a:ext cx="8382002" cy="318553"/>
          </a:xfrm>
          <a:prstGeom prst="rect">
            <a:avLst/>
          </a:prstGeom>
        </p:spPr>
        <p:txBody>
          <a:bodyPr wrap="square" lIns="68583" tIns="34292" rIns="68583" bIns="34292">
            <a:spAutoFit/>
          </a:bodyPr>
          <a:lstStyle/>
          <a:p>
            <a:pPr defTabSz="685807">
              <a:lnSpc>
                <a:spcPct val="90000"/>
              </a:lnSpc>
              <a:spcBef>
                <a:spcPct val="20000"/>
              </a:spcBef>
              <a:buSzPct val="105000"/>
            </a:pPr>
            <a:r>
              <a:rPr lang="en-US" altLang="zh-CN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T1.3</a:t>
            </a:r>
            <a:r>
              <a:rPr lang="zh-CN" altLang="en-US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 </a:t>
            </a:r>
            <a:r>
              <a:rPr lang="zh-CN" altLang="en-US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金融</a:t>
            </a:r>
            <a:r>
              <a:rPr lang="zh-CN" altLang="en-US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数据</a:t>
            </a:r>
            <a:r>
              <a:rPr lang="zh-CN" altLang="en-US" dirty="0" smtClean="0">
                <a:solidFill>
                  <a:srgbClr val="FFFFFF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处理</a:t>
            </a:r>
            <a:endParaRPr lang="en-US" dirty="0">
              <a:solidFill>
                <a:srgbClr val="FFFFFF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graphicFrame>
        <p:nvGraphicFramePr>
          <p:cNvPr id="17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6748250"/>
              </p:ext>
            </p:extLst>
          </p:nvPr>
        </p:nvGraphicFramePr>
        <p:xfrm>
          <a:off x="549088" y="2497460"/>
          <a:ext cx="11016837" cy="2043629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053512"/>
                <a:gridCol w="1503826"/>
                <a:gridCol w="3491491"/>
                <a:gridCol w="2353814"/>
                <a:gridCol w="2614194"/>
              </a:tblGrid>
              <a:tr h="4743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存储方式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备选产品和技术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简介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优点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缺点</a:t>
                      </a:r>
                      <a:endParaRPr lang="en-US" sz="14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4113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数据库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MySQL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成熟的开源关系型数据库，高性能，稳定扎实，久经考验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。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开源，工具丰富，稳定，高事务安全。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应对变更慢，写相对慢，处理非结构化数据性能差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  <a:tr h="358289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err="1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MongoDB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NoSQL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代表，非关系型数据库，面向文档，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JSON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风格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。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写操作快，比较扁平，处理海量非结构化数据性能较好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事务性差，占用空间大，维护工具少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  <a:tr h="35026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Segoe UI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csv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科学、商业研究上广泛使用的一种表格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人际间传播比较方便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使用时你还是得加载到内存里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  <a:tr h="350267">
                <a:tc vMerge="1">
                  <a:txBody>
                    <a:bodyPr/>
                    <a:lstStyle/>
                    <a:p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excel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微软的表格文件</a:t>
                      </a:r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人际间传播比较方便</a:t>
                      </a:r>
                      <a:endParaRPr lang="en-US" altLang="zh-CN" sz="1100" b="0" i="0" dirty="0" smtClean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  <a:p>
                      <a:endParaRPr lang="en-US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使用时你还是得加载到内存里，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而且这是微软的格式，处理的</a:t>
                      </a:r>
                      <a:r>
                        <a:rPr lang="en-US" altLang="zh-CN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API</a:t>
                      </a:r>
                      <a:r>
                        <a:rPr lang="zh-CN" altLang="en-US" sz="1100" b="0" i="0" dirty="0" smtClean="0">
                          <a:solidFill>
                            <a:schemeClr val="bg1"/>
                          </a:solidFill>
                          <a:latin typeface="Yuanti SC" charset="-122"/>
                          <a:ea typeface="Yuanti SC" charset="-122"/>
                          <a:cs typeface="Yuanti SC" charset="-122"/>
                        </a:rPr>
                        <a:t>有单独一套</a:t>
                      </a:r>
                      <a:endParaRPr lang="en-US" altLang="zh-CN" sz="1100" b="0" i="0" dirty="0">
                        <a:solidFill>
                          <a:schemeClr val="bg1"/>
                        </a:solidFill>
                        <a:latin typeface="Yuanti SC" charset="-122"/>
                        <a:ea typeface="Yuanti SC" charset="-122"/>
                        <a:cs typeface="Yuanti SC" charset="-122"/>
                      </a:endParaRPr>
                    </a:p>
                  </a:txBody>
                  <a:tcPr marL="68598" marR="68598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89F0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3"/>
          <p:cNvSpPr txBox="1"/>
          <p:nvPr/>
        </p:nvSpPr>
        <p:spPr>
          <a:xfrm>
            <a:off x="549087" y="4912615"/>
            <a:ext cx="11016837" cy="807920"/>
          </a:xfrm>
          <a:prstGeom prst="rect">
            <a:avLst/>
          </a:prstGeom>
          <a:noFill/>
        </p:spPr>
        <p:txBody>
          <a:bodyPr wrap="square" lIns="68583" tIns="68583" rIns="68583" bIns="68583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初步决定，</a:t>
            </a: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以</a:t>
            </a:r>
            <a:r>
              <a:rPr lang="zh-CN" altLang="en-US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数据库存储方式为主，需要和别人交换数据时再提供导出</a:t>
            </a:r>
            <a:r>
              <a:rPr lang="en-US" altLang="zh-CN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csv/excel</a:t>
            </a:r>
            <a:r>
              <a:rPr lang="zh-CN" altLang="en-US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文件的方式。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15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对于行情、财报等格式</a:t>
            </a: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比较固定，内部关联明确的信息，采用</a:t>
            </a:r>
            <a:r>
              <a:rPr lang="en-US" altLang="zh-CN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MySQL</a:t>
            </a: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存储；对于从网络上抓取的热点信息，结构化较差，使用</a:t>
            </a:r>
            <a:r>
              <a:rPr lang="en-US" altLang="zh-CN" sz="1500" dirty="0" err="1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MongoDB</a:t>
            </a:r>
            <a:r>
              <a:rPr lang="zh-CN" altLang="en-US" sz="15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存储。</a:t>
            </a:r>
            <a:endParaRPr lang="en-US" sz="15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94617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5" grpId="0"/>
      <p:bldP spid="1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-2" y="2529000"/>
            <a:ext cx="12192002" cy="1800000"/>
          </a:xfrm>
          <a:prstGeom prst="rect">
            <a:avLst/>
          </a:prstGeom>
          <a:solidFill>
            <a:srgbClr val="4B89F0">
              <a:alpha val="3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-1" y="2529000"/>
            <a:ext cx="1800000" cy="1800000"/>
          </a:xfrm>
          <a:prstGeom prst="rect">
            <a:avLst/>
          </a:prstGeom>
          <a:solidFill>
            <a:srgbClr val="FF7D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3793190" y="2967468"/>
            <a:ext cx="46056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设计方案</a:t>
            </a:r>
            <a:endParaRPr kumimoji="1" lang="zh-CN" altLang="en-US" sz="5400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grpSp>
        <p:nvGrpSpPr>
          <p:cNvPr id="89" name="Group 20"/>
          <p:cNvGrpSpPr/>
          <p:nvPr/>
        </p:nvGrpSpPr>
        <p:grpSpPr>
          <a:xfrm>
            <a:off x="332977" y="2887046"/>
            <a:ext cx="1081792" cy="1083906"/>
            <a:chOff x="6563042" y="1919069"/>
            <a:chExt cx="1134038" cy="1136551"/>
          </a:xfrm>
        </p:grpSpPr>
        <p:grpSp>
          <p:nvGrpSpPr>
            <p:cNvPr id="90" name="Group 21"/>
            <p:cNvGrpSpPr/>
            <p:nvPr/>
          </p:nvGrpSpPr>
          <p:grpSpPr>
            <a:xfrm>
              <a:off x="6851824" y="1919069"/>
              <a:ext cx="845256" cy="916435"/>
              <a:chOff x="7000705" y="1812217"/>
              <a:chExt cx="914400" cy="991402"/>
            </a:xfrm>
          </p:grpSpPr>
          <p:sp>
            <p:nvSpPr>
              <p:cNvPr id="102" name="Oval 33"/>
              <p:cNvSpPr/>
              <p:nvPr/>
            </p:nvSpPr>
            <p:spPr>
              <a:xfrm>
                <a:off x="7192225" y="2251319"/>
                <a:ext cx="155418" cy="147836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sp>
            <p:nvSpPr>
              <p:cNvPr id="103" name="Trapezoid 34"/>
              <p:cNvSpPr/>
              <p:nvPr/>
            </p:nvSpPr>
            <p:spPr>
              <a:xfrm>
                <a:off x="7193281" y="2374325"/>
                <a:ext cx="154362" cy="258385"/>
              </a:xfrm>
              <a:prstGeom prst="trapezoid">
                <a:avLst>
                  <a:gd name="adj" fmla="val 16772"/>
                </a:avLst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sp>
            <p:nvSpPr>
              <p:cNvPr id="104" name="Rectangle 35"/>
              <p:cNvSpPr/>
              <p:nvPr/>
            </p:nvSpPr>
            <p:spPr>
              <a:xfrm rot="900000">
                <a:off x="7000705" y="2157056"/>
                <a:ext cx="914400" cy="646563"/>
              </a:xfrm>
              <a:prstGeom prst="rect">
                <a:avLst/>
              </a:prstGeom>
              <a:noFill/>
              <a:ln w="2857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cxnSp>
            <p:nvCxnSpPr>
              <p:cNvPr id="105" name="Straight Connector 36"/>
              <p:cNvCxnSpPr/>
              <p:nvPr/>
            </p:nvCxnSpPr>
            <p:spPr>
              <a:xfrm>
                <a:off x="7147560" y="2514600"/>
                <a:ext cx="547052" cy="15240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sp>
            <p:nvSpPr>
              <p:cNvPr id="106" name="Oval 37"/>
              <p:cNvSpPr/>
              <p:nvPr/>
            </p:nvSpPr>
            <p:spPr>
              <a:xfrm>
                <a:off x="7121576" y="2341282"/>
                <a:ext cx="310345" cy="3103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cxnSp>
            <p:nvCxnSpPr>
              <p:cNvPr id="107" name="Straight Connector 38"/>
              <p:cNvCxnSpPr/>
              <p:nvPr/>
            </p:nvCxnSpPr>
            <p:spPr>
              <a:xfrm flipV="1">
                <a:off x="7574280" y="2538095"/>
                <a:ext cx="32068" cy="9271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8" name="Straight Connector 39"/>
              <p:cNvCxnSpPr/>
              <p:nvPr/>
            </p:nvCxnSpPr>
            <p:spPr>
              <a:xfrm flipV="1">
                <a:off x="7685404" y="2569210"/>
                <a:ext cx="32068" cy="9271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09" name="Straight Connector 40"/>
              <p:cNvCxnSpPr/>
              <p:nvPr/>
            </p:nvCxnSpPr>
            <p:spPr>
              <a:xfrm flipV="1">
                <a:off x="7457905" y="2505075"/>
                <a:ext cx="32068" cy="9271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0" name="Straight Connector 41"/>
              <p:cNvCxnSpPr/>
              <p:nvPr/>
            </p:nvCxnSpPr>
            <p:spPr>
              <a:xfrm flipV="1">
                <a:off x="7344309" y="2472627"/>
                <a:ext cx="32068" cy="9271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111" name="Straight Connector 42"/>
              <p:cNvCxnSpPr/>
              <p:nvPr/>
            </p:nvCxnSpPr>
            <p:spPr>
              <a:xfrm flipH="1">
                <a:off x="7147560" y="2209800"/>
                <a:ext cx="89852" cy="30480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sp>
            <p:nvSpPr>
              <p:cNvPr id="112" name="Rectangle 43"/>
              <p:cNvSpPr/>
              <p:nvPr/>
            </p:nvSpPr>
            <p:spPr>
              <a:xfrm rot="900000">
                <a:off x="7387126" y="2674459"/>
                <a:ext cx="228600" cy="113155"/>
              </a:xfrm>
              <a:prstGeom prst="rect">
                <a:avLst/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cxnSp>
            <p:nvCxnSpPr>
              <p:cNvPr id="113" name="Straight Connector 44"/>
              <p:cNvCxnSpPr/>
              <p:nvPr/>
            </p:nvCxnSpPr>
            <p:spPr>
              <a:xfrm>
                <a:off x="7296845" y="2209800"/>
                <a:ext cx="566995" cy="164525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ysDash"/>
              </a:ln>
              <a:effectLst/>
            </p:spPr>
          </p:cxnSp>
          <p:sp>
            <p:nvSpPr>
              <p:cNvPr id="114" name="Freeform 45"/>
              <p:cNvSpPr/>
              <p:nvPr/>
            </p:nvSpPr>
            <p:spPr>
              <a:xfrm rot="20700000">
                <a:off x="7451777" y="1812217"/>
                <a:ext cx="334954" cy="626744"/>
              </a:xfrm>
              <a:custGeom>
                <a:avLst/>
                <a:gdLst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1137 h 968847"/>
                  <a:gd name="connsiteX1" fmla="*/ 0 w 472440"/>
                  <a:gd name="connsiteY1" fmla="*/ 925032 h 968847"/>
                  <a:gd name="connsiteX2" fmla="*/ 205740 w 472440"/>
                  <a:gd name="connsiteY2" fmla="*/ 376392 h 968847"/>
                  <a:gd name="connsiteX3" fmla="*/ 472440 w 472440"/>
                  <a:gd name="connsiteY3" fmla="*/ 968847 h 968847"/>
                  <a:gd name="connsiteX4" fmla="*/ 228600 w 472440"/>
                  <a:gd name="connsiteY4" fmla="*/ 252567 h 968847"/>
                  <a:gd name="connsiteX5" fmla="*/ 360045 w 472440"/>
                  <a:gd name="connsiteY5" fmla="*/ 126837 h 968847"/>
                  <a:gd name="connsiteX6" fmla="*/ 209550 w 472440"/>
                  <a:gd name="connsiteY6" fmla="*/ 1107 h 968847"/>
                  <a:gd name="connsiteX7" fmla="*/ 49530 w 472440"/>
                  <a:gd name="connsiteY7" fmla="*/ 103977 h 968847"/>
                  <a:gd name="connsiteX8" fmla="*/ 142875 w 472440"/>
                  <a:gd name="connsiteY8" fmla="*/ 241137 h 968847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205740 w 472440"/>
                  <a:gd name="connsiteY2" fmla="*/ 377091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6004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205740 w 472440"/>
                  <a:gd name="connsiteY2" fmla="*/ 377091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6004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205740 w 472440"/>
                  <a:gd name="connsiteY2" fmla="*/ 377091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6004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6004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4480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3850 w 472440"/>
                  <a:gd name="connsiteY4" fmla="*/ 539017 h 969546"/>
                  <a:gd name="connsiteX5" fmla="*/ 228600 w 472440"/>
                  <a:gd name="connsiteY5" fmla="*/ 253266 h 969546"/>
                  <a:gd name="connsiteX6" fmla="*/ 344805 w 472440"/>
                  <a:gd name="connsiteY6" fmla="*/ 127536 h 969546"/>
                  <a:gd name="connsiteX7" fmla="*/ 209550 w 472440"/>
                  <a:gd name="connsiteY7" fmla="*/ 1806 h 969546"/>
                  <a:gd name="connsiteX8" fmla="*/ 49530 w 472440"/>
                  <a:gd name="connsiteY8" fmla="*/ 104676 h 969546"/>
                  <a:gd name="connsiteX9" fmla="*/ 142875 w 472440"/>
                  <a:gd name="connsiteY9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3375 w 472440"/>
                  <a:gd name="connsiteY4" fmla="*/ 573307 h 969546"/>
                  <a:gd name="connsiteX5" fmla="*/ 323850 w 472440"/>
                  <a:gd name="connsiteY5" fmla="*/ 539017 h 969546"/>
                  <a:gd name="connsiteX6" fmla="*/ 228600 w 472440"/>
                  <a:gd name="connsiteY6" fmla="*/ 253266 h 969546"/>
                  <a:gd name="connsiteX7" fmla="*/ 344805 w 472440"/>
                  <a:gd name="connsiteY7" fmla="*/ 127536 h 969546"/>
                  <a:gd name="connsiteX8" fmla="*/ 209550 w 472440"/>
                  <a:gd name="connsiteY8" fmla="*/ 1806 h 969546"/>
                  <a:gd name="connsiteX9" fmla="*/ 49530 w 472440"/>
                  <a:gd name="connsiteY9" fmla="*/ 104676 h 969546"/>
                  <a:gd name="connsiteX10" fmla="*/ 142875 w 472440"/>
                  <a:gd name="connsiteY10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3375 w 472440"/>
                  <a:gd name="connsiteY4" fmla="*/ 573307 h 969546"/>
                  <a:gd name="connsiteX5" fmla="*/ 323850 w 472440"/>
                  <a:gd name="connsiteY5" fmla="*/ 539017 h 969546"/>
                  <a:gd name="connsiteX6" fmla="*/ 312420 w 472440"/>
                  <a:gd name="connsiteY6" fmla="*/ 502822 h 969546"/>
                  <a:gd name="connsiteX7" fmla="*/ 228600 w 472440"/>
                  <a:gd name="connsiteY7" fmla="*/ 253266 h 969546"/>
                  <a:gd name="connsiteX8" fmla="*/ 344805 w 472440"/>
                  <a:gd name="connsiteY8" fmla="*/ 127536 h 969546"/>
                  <a:gd name="connsiteX9" fmla="*/ 209550 w 472440"/>
                  <a:gd name="connsiteY9" fmla="*/ 1806 h 969546"/>
                  <a:gd name="connsiteX10" fmla="*/ 49530 w 472440"/>
                  <a:gd name="connsiteY10" fmla="*/ 104676 h 969546"/>
                  <a:gd name="connsiteX11" fmla="*/ 142875 w 472440"/>
                  <a:gd name="connsiteY11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9090 w 472440"/>
                  <a:gd name="connsiteY4" fmla="*/ 594262 h 969546"/>
                  <a:gd name="connsiteX5" fmla="*/ 333375 w 472440"/>
                  <a:gd name="connsiteY5" fmla="*/ 573307 h 969546"/>
                  <a:gd name="connsiteX6" fmla="*/ 323850 w 472440"/>
                  <a:gd name="connsiteY6" fmla="*/ 53901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9090 w 472440"/>
                  <a:gd name="connsiteY4" fmla="*/ 594262 h 969546"/>
                  <a:gd name="connsiteX5" fmla="*/ 468630 w 472440"/>
                  <a:gd name="connsiteY5" fmla="*/ 548542 h 969546"/>
                  <a:gd name="connsiteX6" fmla="*/ 323850 w 472440"/>
                  <a:gd name="connsiteY6" fmla="*/ 53901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9090 w 472440"/>
                  <a:gd name="connsiteY4" fmla="*/ 594262 h 969546"/>
                  <a:gd name="connsiteX5" fmla="*/ 468630 w 472440"/>
                  <a:gd name="connsiteY5" fmla="*/ 548542 h 969546"/>
                  <a:gd name="connsiteX6" fmla="*/ 470535 w 472440"/>
                  <a:gd name="connsiteY6" fmla="*/ 51615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9565 w 472440"/>
                  <a:gd name="connsiteY4" fmla="*/ 542827 h 969546"/>
                  <a:gd name="connsiteX5" fmla="*/ 468630 w 472440"/>
                  <a:gd name="connsiteY5" fmla="*/ 548542 h 969546"/>
                  <a:gd name="connsiteX6" fmla="*/ 470535 w 472440"/>
                  <a:gd name="connsiteY6" fmla="*/ 51615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9565 w 472440"/>
                  <a:gd name="connsiteY4" fmla="*/ 542827 h 969546"/>
                  <a:gd name="connsiteX5" fmla="*/ 468630 w 472440"/>
                  <a:gd name="connsiteY5" fmla="*/ 548542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9565 w 472440"/>
                  <a:gd name="connsiteY4" fmla="*/ 542827 h 969546"/>
                  <a:gd name="connsiteX5" fmla="*/ 457200 w 472440"/>
                  <a:gd name="connsiteY5" fmla="*/ 539017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1945 w 472440"/>
                  <a:gd name="connsiteY4" fmla="*/ 533302 h 969546"/>
                  <a:gd name="connsiteX5" fmla="*/ 457200 w 472440"/>
                  <a:gd name="connsiteY5" fmla="*/ 539017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1470 w 472440"/>
                  <a:gd name="connsiteY4" fmla="*/ 537112 h 969546"/>
                  <a:gd name="connsiteX5" fmla="*/ 457200 w 472440"/>
                  <a:gd name="connsiteY5" fmla="*/ 539017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1470 w 472440"/>
                  <a:gd name="connsiteY4" fmla="*/ 537112 h 969546"/>
                  <a:gd name="connsiteX5" fmla="*/ 457200 w 472440"/>
                  <a:gd name="connsiteY5" fmla="*/ 533302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1470 w 472440"/>
                  <a:gd name="connsiteY4" fmla="*/ 537112 h 969546"/>
                  <a:gd name="connsiteX5" fmla="*/ 457200 w 472440"/>
                  <a:gd name="connsiteY5" fmla="*/ 533302 h 969546"/>
                  <a:gd name="connsiteX6" fmla="*/ 451485 w 472440"/>
                  <a:gd name="connsiteY6" fmla="*/ 50472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81915 w 472440"/>
                  <a:gd name="connsiteY1" fmla="*/ 537112 h 969546"/>
                  <a:gd name="connsiteX2" fmla="*/ 0 w 472440"/>
                  <a:gd name="connsiteY2" fmla="*/ 925731 h 969546"/>
                  <a:gd name="connsiteX3" fmla="*/ 198120 w 472440"/>
                  <a:gd name="connsiteY3" fmla="*/ 375186 h 969546"/>
                  <a:gd name="connsiteX4" fmla="*/ 472440 w 472440"/>
                  <a:gd name="connsiteY4" fmla="*/ 969546 h 969546"/>
                  <a:gd name="connsiteX5" fmla="*/ 331470 w 472440"/>
                  <a:gd name="connsiteY5" fmla="*/ 537112 h 969546"/>
                  <a:gd name="connsiteX6" fmla="*/ 457200 w 472440"/>
                  <a:gd name="connsiteY6" fmla="*/ 533302 h 969546"/>
                  <a:gd name="connsiteX7" fmla="*/ 451485 w 472440"/>
                  <a:gd name="connsiteY7" fmla="*/ 504727 h 969546"/>
                  <a:gd name="connsiteX8" fmla="*/ 312420 w 472440"/>
                  <a:gd name="connsiteY8" fmla="*/ 502822 h 969546"/>
                  <a:gd name="connsiteX9" fmla="*/ 228600 w 472440"/>
                  <a:gd name="connsiteY9" fmla="*/ 253266 h 969546"/>
                  <a:gd name="connsiteX10" fmla="*/ 344805 w 472440"/>
                  <a:gd name="connsiteY10" fmla="*/ 127536 h 969546"/>
                  <a:gd name="connsiteX11" fmla="*/ 209550 w 472440"/>
                  <a:gd name="connsiteY11" fmla="*/ 1806 h 969546"/>
                  <a:gd name="connsiteX12" fmla="*/ 49530 w 472440"/>
                  <a:gd name="connsiteY12" fmla="*/ 104676 h 969546"/>
                  <a:gd name="connsiteX13" fmla="*/ 142875 w 472440"/>
                  <a:gd name="connsiteY13" fmla="*/ 241836 h 969546"/>
                  <a:gd name="connsiteX0" fmla="*/ 142875 w 472440"/>
                  <a:gd name="connsiteY0" fmla="*/ 241836 h 969546"/>
                  <a:gd name="connsiteX1" fmla="*/ 83820 w 472440"/>
                  <a:gd name="connsiteY1" fmla="*/ 512347 h 969546"/>
                  <a:gd name="connsiteX2" fmla="*/ 81915 w 472440"/>
                  <a:gd name="connsiteY2" fmla="*/ 537112 h 969546"/>
                  <a:gd name="connsiteX3" fmla="*/ 0 w 472440"/>
                  <a:gd name="connsiteY3" fmla="*/ 925731 h 969546"/>
                  <a:gd name="connsiteX4" fmla="*/ 198120 w 472440"/>
                  <a:gd name="connsiteY4" fmla="*/ 375186 h 969546"/>
                  <a:gd name="connsiteX5" fmla="*/ 472440 w 472440"/>
                  <a:gd name="connsiteY5" fmla="*/ 969546 h 969546"/>
                  <a:gd name="connsiteX6" fmla="*/ 331470 w 472440"/>
                  <a:gd name="connsiteY6" fmla="*/ 537112 h 969546"/>
                  <a:gd name="connsiteX7" fmla="*/ 457200 w 472440"/>
                  <a:gd name="connsiteY7" fmla="*/ 533302 h 969546"/>
                  <a:gd name="connsiteX8" fmla="*/ 451485 w 472440"/>
                  <a:gd name="connsiteY8" fmla="*/ 504727 h 969546"/>
                  <a:gd name="connsiteX9" fmla="*/ 312420 w 472440"/>
                  <a:gd name="connsiteY9" fmla="*/ 502822 h 969546"/>
                  <a:gd name="connsiteX10" fmla="*/ 228600 w 472440"/>
                  <a:gd name="connsiteY10" fmla="*/ 253266 h 969546"/>
                  <a:gd name="connsiteX11" fmla="*/ 344805 w 472440"/>
                  <a:gd name="connsiteY11" fmla="*/ 127536 h 969546"/>
                  <a:gd name="connsiteX12" fmla="*/ 209550 w 472440"/>
                  <a:gd name="connsiteY12" fmla="*/ 1806 h 969546"/>
                  <a:gd name="connsiteX13" fmla="*/ 49530 w 472440"/>
                  <a:gd name="connsiteY13" fmla="*/ 104676 h 969546"/>
                  <a:gd name="connsiteX14" fmla="*/ 142875 w 472440"/>
                  <a:gd name="connsiteY14" fmla="*/ 241836 h 969546"/>
                  <a:gd name="connsiteX0" fmla="*/ 142875 w 472440"/>
                  <a:gd name="connsiteY0" fmla="*/ 241836 h 969546"/>
                  <a:gd name="connsiteX1" fmla="*/ 85725 w 472440"/>
                  <a:gd name="connsiteY1" fmla="*/ 495202 h 969546"/>
                  <a:gd name="connsiteX2" fmla="*/ 83820 w 472440"/>
                  <a:gd name="connsiteY2" fmla="*/ 512347 h 969546"/>
                  <a:gd name="connsiteX3" fmla="*/ 81915 w 472440"/>
                  <a:gd name="connsiteY3" fmla="*/ 537112 h 969546"/>
                  <a:gd name="connsiteX4" fmla="*/ 0 w 472440"/>
                  <a:gd name="connsiteY4" fmla="*/ 925731 h 969546"/>
                  <a:gd name="connsiteX5" fmla="*/ 198120 w 472440"/>
                  <a:gd name="connsiteY5" fmla="*/ 375186 h 969546"/>
                  <a:gd name="connsiteX6" fmla="*/ 472440 w 472440"/>
                  <a:gd name="connsiteY6" fmla="*/ 969546 h 969546"/>
                  <a:gd name="connsiteX7" fmla="*/ 331470 w 472440"/>
                  <a:gd name="connsiteY7" fmla="*/ 537112 h 969546"/>
                  <a:gd name="connsiteX8" fmla="*/ 457200 w 472440"/>
                  <a:gd name="connsiteY8" fmla="*/ 533302 h 969546"/>
                  <a:gd name="connsiteX9" fmla="*/ 451485 w 472440"/>
                  <a:gd name="connsiteY9" fmla="*/ 504727 h 969546"/>
                  <a:gd name="connsiteX10" fmla="*/ 312420 w 472440"/>
                  <a:gd name="connsiteY10" fmla="*/ 502822 h 969546"/>
                  <a:gd name="connsiteX11" fmla="*/ 228600 w 472440"/>
                  <a:gd name="connsiteY11" fmla="*/ 253266 h 969546"/>
                  <a:gd name="connsiteX12" fmla="*/ 344805 w 472440"/>
                  <a:gd name="connsiteY12" fmla="*/ 127536 h 969546"/>
                  <a:gd name="connsiteX13" fmla="*/ 209550 w 472440"/>
                  <a:gd name="connsiteY13" fmla="*/ 1806 h 969546"/>
                  <a:gd name="connsiteX14" fmla="*/ 49530 w 472440"/>
                  <a:gd name="connsiteY14" fmla="*/ 104676 h 969546"/>
                  <a:gd name="connsiteX15" fmla="*/ 142875 w 472440"/>
                  <a:gd name="connsiteY15" fmla="*/ 241836 h 969546"/>
                  <a:gd name="connsiteX0" fmla="*/ 142875 w 472440"/>
                  <a:gd name="connsiteY0" fmla="*/ 241836 h 969546"/>
                  <a:gd name="connsiteX1" fmla="*/ 91440 w 472440"/>
                  <a:gd name="connsiteY1" fmla="*/ 468532 h 969546"/>
                  <a:gd name="connsiteX2" fmla="*/ 85725 w 472440"/>
                  <a:gd name="connsiteY2" fmla="*/ 495202 h 969546"/>
                  <a:gd name="connsiteX3" fmla="*/ 83820 w 472440"/>
                  <a:gd name="connsiteY3" fmla="*/ 512347 h 969546"/>
                  <a:gd name="connsiteX4" fmla="*/ 81915 w 472440"/>
                  <a:gd name="connsiteY4" fmla="*/ 537112 h 969546"/>
                  <a:gd name="connsiteX5" fmla="*/ 0 w 472440"/>
                  <a:gd name="connsiteY5" fmla="*/ 925731 h 969546"/>
                  <a:gd name="connsiteX6" fmla="*/ 198120 w 472440"/>
                  <a:gd name="connsiteY6" fmla="*/ 375186 h 969546"/>
                  <a:gd name="connsiteX7" fmla="*/ 472440 w 472440"/>
                  <a:gd name="connsiteY7" fmla="*/ 969546 h 969546"/>
                  <a:gd name="connsiteX8" fmla="*/ 331470 w 472440"/>
                  <a:gd name="connsiteY8" fmla="*/ 537112 h 969546"/>
                  <a:gd name="connsiteX9" fmla="*/ 457200 w 472440"/>
                  <a:gd name="connsiteY9" fmla="*/ 533302 h 969546"/>
                  <a:gd name="connsiteX10" fmla="*/ 451485 w 472440"/>
                  <a:gd name="connsiteY10" fmla="*/ 504727 h 969546"/>
                  <a:gd name="connsiteX11" fmla="*/ 312420 w 472440"/>
                  <a:gd name="connsiteY11" fmla="*/ 502822 h 969546"/>
                  <a:gd name="connsiteX12" fmla="*/ 228600 w 472440"/>
                  <a:gd name="connsiteY12" fmla="*/ 253266 h 969546"/>
                  <a:gd name="connsiteX13" fmla="*/ 344805 w 472440"/>
                  <a:gd name="connsiteY13" fmla="*/ 127536 h 969546"/>
                  <a:gd name="connsiteX14" fmla="*/ 209550 w 472440"/>
                  <a:gd name="connsiteY14" fmla="*/ 1806 h 969546"/>
                  <a:gd name="connsiteX15" fmla="*/ 49530 w 472440"/>
                  <a:gd name="connsiteY15" fmla="*/ 104676 h 969546"/>
                  <a:gd name="connsiteX16" fmla="*/ 142875 w 472440"/>
                  <a:gd name="connsiteY16" fmla="*/ 241836 h 969546"/>
                  <a:gd name="connsiteX0" fmla="*/ 215265 w 544830"/>
                  <a:gd name="connsiteY0" fmla="*/ 241836 h 969546"/>
                  <a:gd name="connsiteX1" fmla="*/ 163830 w 544830"/>
                  <a:gd name="connsiteY1" fmla="*/ 468532 h 969546"/>
                  <a:gd name="connsiteX2" fmla="*/ 0 w 544830"/>
                  <a:gd name="connsiteY2" fmla="*/ 481867 h 969546"/>
                  <a:gd name="connsiteX3" fmla="*/ 156210 w 544830"/>
                  <a:gd name="connsiteY3" fmla="*/ 512347 h 969546"/>
                  <a:gd name="connsiteX4" fmla="*/ 154305 w 544830"/>
                  <a:gd name="connsiteY4" fmla="*/ 53711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215265 w 544830"/>
                  <a:gd name="connsiteY0" fmla="*/ 241836 h 969546"/>
                  <a:gd name="connsiteX1" fmla="*/ 163830 w 544830"/>
                  <a:gd name="connsiteY1" fmla="*/ 468532 h 969546"/>
                  <a:gd name="connsiteX2" fmla="*/ 0 w 544830"/>
                  <a:gd name="connsiteY2" fmla="*/ 481867 h 969546"/>
                  <a:gd name="connsiteX3" fmla="*/ 19050 w 544830"/>
                  <a:gd name="connsiteY3" fmla="*/ 531397 h 969546"/>
                  <a:gd name="connsiteX4" fmla="*/ 154305 w 544830"/>
                  <a:gd name="connsiteY4" fmla="*/ 53711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215265 w 544830"/>
                  <a:gd name="connsiteY0" fmla="*/ 241836 h 969546"/>
                  <a:gd name="connsiteX1" fmla="*/ 165735 w 544830"/>
                  <a:gd name="connsiteY1" fmla="*/ 499012 h 969546"/>
                  <a:gd name="connsiteX2" fmla="*/ 0 w 544830"/>
                  <a:gd name="connsiteY2" fmla="*/ 481867 h 969546"/>
                  <a:gd name="connsiteX3" fmla="*/ 19050 w 544830"/>
                  <a:gd name="connsiteY3" fmla="*/ 531397 h 969546"/>
                  <a:gd name="connsiteX4" fmla="*/ 154305 w 544830"/>
                  <a:gd name="connsiteY4" fmla="*/ 53711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215265 w 544830"/>
                  <a:gd name="connsiteY0" fmla="*/ 241836 h 969546"/>
                  <a:gd name="connsiteX1" fmla="*/ 165735 w 544830"/>
                  <a:gd name="connsiteY1" fmla="*/ 499012 h 969546"/>
                  <a:gd name="connsiteX2" fmla="*/ 0 w 544830"/>
                  <a:gd name="connsiteY2" fmla="*/ 481867 h 969546"/>
                  <a:gd name="connsiteX3" fmla="*/ 19050 w 544830"/>
                  <a:gd name="connsiteY3" fmla="*/ 531397 h 969546"/>
                  <a:gd name="connsiteX4" fmla="*/ 158115 w 544830"/>
                  <a:gd name="connsiteY4" fmla="*/ 52949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215265 w 544830"/>
                  <a:gd name="connsiteY0" fmla="*/ 241836 h 969546"/>
                  <a:gd name="connsiteX1" fmla="*/ 165735 w 544830"/>
                  <a:gd name="connsiteY1" fmla="*/ 499012 h 969546"/>
                  <a:gd name="connsiteX2" fmla="*/ 0 w 544830"/>
                  <a:gd name="connsiteY2" fmla="*/ 481867 h 969546"/>
                  <a:gd name="connsiteX3" fmla="*/ 19050 w 544830"/>
                  <a:gd name="connsiteY3" fmla="*/ 514252 h 969546"/>
                  <a:gd name="connsiteX4" fmla="*/ 158115 w 544830"/>
                  <a:gd name="connsiteY4" fmla="*/ 52949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196215 w 525780"/>
                  <a:gd name="connsiteY0" fmla="*/ 241836 h 969546"/>
                  <a:gd name="connsiteX1" fmla="*/ 146685 w 525780"/>
                  <a:gd name="connsiteY1" fmla="*/ 499012 h 969546"/>
                  <a:gd name="connsiteX2" fmla="*/ 7620 w 525780"/>
                  <a:gd name="connsiteY2" fmla="*/ 487582 h 969546"/>
                  <a:gd name="connsiteX3" fmla="*/ 0 w 525780"/>
                  <a:gd name="connsiteY3" fmla="*/ 514252 h 969546"/>
                  <a:gd name="connsiteX4" fmla="*/ 139065 w 525780"/>
                  <a:gd name="connsiteY4" fmla="*/ 529492 h 969546"/>
                  <a:gd name="connsiteX5" fmla="*/ 53340 w 525780"/>
                  <a:gd name="connsiteY5" fmla="*/ 925731 h 969546"/>
                  <a:gd name="connsiteX6" fmla="*/ 251460 w 525780"/>
                  <a:gd name="connsiteY6" fmla="*/ 375186 h 969546"/>
                  <a:gd name="connsiteX7" fmla="*/ 525780 w 525780"/>
                  <a:gd name="connsiteY7" fmla="*/ 969546 h 969546"/>
                  <a:gd name="connsiteX8" fmla="*/ 384810 w 525780"/>
                  <a:gd name="connsiteY8" fmla="*/ 537112 h 969546"/>
                  <a:gd name="connsiteX9" fmla="*/ 510540 w 525780"/>
                  <a:gd name="connsiteY9" fmla="*/ 533302 h 969546"/>
                  <a:gd name="connsiteX10" fmla="*/ 504825 w 525780"/>
                  <a:gd name="connsiteY10" fmla="*/ 504727 h 969546"/>
                  <a:gd name="connsiteX11" fmla="*/ 365760 w 525780"/>
                  <a:gd name="connsiteY11" fmla="*/ 502822 h 969546"/>
                  <a:gd name="connsiteX12" fmla="*/ 281940 w 525780"/>
                  <a:gd name="connsiteY12" fmla="*/ 253266 h 969546"/>
                  <a:gd name="connsiteX13" fmla="*/ 398145 w 525780"/>
                  <a:gd name="connsiteY13" fmla="*/ 127536 h 969546"/>
                  <a:gd name="connsiteX14" fmla="*/ 262890 w 525780"/>
                  <a:gd name="connsiteY14" fmla="*/ 1806 h 969546"/>
                  <a:gd name="connsiteX15" fmla="*/ 102870 w 525780"/>
                  <a:gd name="connsiteY15" fmla="*/ 104676 h 969546"/>
                  <a:gd name="connsiteX16" fmla="*/ 196215 w 525780"/>
                  <a:gd name="connsiteY16" fmla="*/ 241836 h 969546"/>
                  <a:gd name="connsiteX0" fmla="*/ 188595 w 518160"/>
                  <a:gd name="connsiteY0" fmla="*/ 241836 h 969546"/>
                  <a:gd name="connsiteX1" fmla="*/ 139065 w 518160"/>
                  <a:gd name="connsiteY1" fmla="*/ 499012 h 969546"/>
                  <a:gd name="connsiteX2" fmla="*/ 0 w 518160"/>
                  <a:gd name="connsiteY2" fmla="*/ 487582 h 969546"/>
                  <a:gd name="connsiteX3" fmla="*/ 0 w 518160"/>
                  <a:gd name="connsiteY3" fmla="*/ 527587 h 969546"/>
                  <a:gd name="connsiteX4" fmla="*/ 131445 w 518160"/>
                  <a:gd name="connsiteY4" fmla="*/ 529492 h 969546"/>
                  <a:gd name="connsiteX5" fmla="*/ 45720 w 518160"/>
                  <a:gd name="connsiteY5" fmla="*/ 925731 h 969546"/>
                  <a:gd name="connsiteX6" fmla="*/ 243840 w 518160"/>
                  <a:gd name="connsiteY6" fmla="*/ 375186 h 969546"/>
                  <a:gd name="connsiteX7" fmla="*/ 518160 w 518160"/>
                  <a:gd name="connsiteY7" fmla="*/ 969546 h 969546"/>
                  <a:gd name="connsiteX8" fmla="*/ 377190 w 518160"/>
                  <a:gd name="connsiteY8" fmla="*/ 537112 h 969546"/>
                  <a:gd name="connsiteX9" fmla="*/ 502920 w 518160"/>
                  <a:gd name="connsiteY9" fmla="*/ 533302 h 969546"/>
                  <a:gd name="connsiteX10" fmla="*/ 497205 w 518160"/>
                  <a:gd name="connsiteY10" fmla="*/ 504727 h 969546"/>
                  <a:gd name="connsiteX11" fmla="*/ 358140 w 518160"/>
                  <a:gd name="connsiteY11" fmla="*/ 502822 h 969546"/>
                  <a:gd name="connsiteX12" fmla="*/ 274320 w 518160"/>
                  <a:gd name="connsiteY12" fmla="*/ 253266 h 969546"/>
                  <a:gd name="connsiteX13" fmla="*/ 390525 w 518160"/>
                  <a:gd name="connsiteY13" fmla="*/ 127536 h 969546"/>
                  <a:gd name="connsiteX14" fmla="*/ 255270 w 518160"/>
                  <a:gd name="connsiteY14" fmla="*/ 1806 h 969546"/>
                  <a:gd name="connsiteX15" fmla="*/ 95250 w 518160"/>
                  <a:gd name="connsiteY15" fmla="*/ 104676 h 969546"/>
                  <a:gd name="connsiteX16" fmla="*/ 188595 w 518160"/>
                  <a:gd name="connsiteY16" fmla="*/ 241836 h 969546"/>
                  <a:gd name="connsiteX0" fmla="*/ 188595 w 518160"/>
                  <a:gd name="connsiteY0" fmla="*/ 241836 h 969546"/>
                  <a:gd name="connsiteX1" fmla="*/ 139065 w 518160"/>
                  <a:gd name="connsiteY1" fmla="*/ 499012 h 969546"/>
                  <a:gd name="connsiteX2" fmla="*/ 3810 w 518160"/>
                  <a:gd name="connsiteY2" fmla="*/ 499012 h 969546"/>
                  <a:gd name="connsiteX3" fmla="*/ 0 w 518160"/>
                  <a:gd name="connsiteY3" fmla="*/ 527587 h 969546"/>
                  <a:gd name="connsiteX4" fmla="*/ 131445 w 518160"/>
                  <a:gd name="connsiteY4" fmla="*/ 529492 h 969546"/>
                  <a:gd name="connsiteX5" fmla="*/ 45720 w 518160"/>
                  <a:gd name="connsiteY5" fmla="*/ 925731 h 969546"/>
                  <a:gd name="connsiteX6" fmla="*/ 243840 w 518160"/>
                  <a:gd name="connsiteY6" fmla="*/ 375186 h 969546"/>
                  <a:gd name="connsiteX7" fmla="*/ 518160 w 518160"/>
                  <a:gd name="connsiteY7" fmla="*/ 969546 h 969546"/>
                  <a:gd name="connsiteX8" fmla="*/ 377190 w 518160"/>
                  <a:gd name="connsiteY8" fmla="*/ 537112 h 969546"/>
                  <a:gd name="connsiteX9" fmla="*/ 502920 w 518160"/>
                  <a:gd name="connsiteY9" fmla="*/ 533302 h 969546"/>
                  <a:gd name="connsiteX10" fmla="*/ 497205 w 518160"/>
                  <a:gd name="connsiteY10" fmla="*/ 504727 h 969546"/>
                  <a:gd name="connsiteX11" fmla="*/ 358140 w 518160"/>
                  <a:gd name="connsiteY11" fmla="*/ 502822 h 969546"/>
                  <a:gd name="connsiteX12" fmla="*/ 274320 w 518160"/>
                  <a:gd name="connsiteY12" fmla="*/ 253266 h 969546"/>
                  <a:gd name="connsiteX13" fmla="*/ 390525 w 518160"/>
                  <a:gd name="connsiteY13" fmla="*/ 127536 h 969546"/>
                  <a:gd name="connsiteX14" fmla="*/ 255270 w 518160"/>
                  <a:gd name="connsiteY14" fmla="*/ 1806 h 969546"/>
                  <a:gd name="connsiteX15" fmla="*/ 95250 w 518160"/>
                  <a:gd name="connsiteY15" fmla="*/ 104676 h 969546"/>
                  <a:gd name="connsiteX16" fmla="*/ 188595 w 518160"/>
                  <a:gd name="connsiteY16" fmla="*/ 241836 h 969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18160" h="969546">
                    <a:moveTo>
                      <a:pt x="188595" y="241836"/>
                    </a:moveTo>
                    <a:lnTo>
                      <a:pt x="139065" y="499012"/>
                    </a:lnTo>
                    <a:lnTo>
                      <a:pt x="3810" y="499012"/>
                    </a:lnTo>
                    <a:lnTo>
                      <a:pt x="0" y="527587"/>
                    </a:lnTo>
                    <a:lnTo>
                      <a:pt x="131445" y="529492"/>
                    </a:lnTo>
                    <a:lnTo>
                      <a:pt x="45720" y="925731"/>
                    </a:lnTo>
                    <a:lnTo>
                      <a:pt x="243840" y="375186"/>
                    </a:lnTo>
                    <a:lnTo>
                      <a:pt x="518160" y="969546"/>
                    </a:lnTo>
                    <a:lnTo>
                      <a:pt x="377190" y="537112"/>
                    </a:lnTo>
                    <a:lnTo>
                      <a:pt x="502920" y="533302"/>
                    </a:lnTo>
                    <a:lnTo>
                      <a:pt x="497205" y="504727"/>
                    </a:lnTo>
                    <a:lnTo>
                      <a:pt x="358140" y="502822"/>
                    </a:lnTo>
                    <a:lnTo>
                      <a:pt x="274320" y="253266"/>
                    </a:lnTo>
                    <a:cubicBezTo>
                      <a:pt x="340995" y="249456"/>
                      <a:pt x="382905" y="182781"/>
                      <a:pt x="390525" y="127536"/>
                    </a:cubicBezTo>
                    <a:cubicBezTo>
                      <a:pt x="386080" y="38001"/>
                      <a:pt x="307340" y="7521"/>
                      <a:pt x="255270" y="1806"/>
                    </a:cubicBezTo>
                    <a:cubicBezTo>
                      <a:pt x="203835" y="-9624"/>
                      <a:pt x="106680" y="34191"/>
                      <a:pt x="95250" y="104676"/>
                    </a:cubicBezTo>
                    <a:cubicBezTo>
                      <a:pt x="78740" y="171351"/>
                      <a:pt x="130810" y="222786"/>
                      <a:pt x="188595" y="241836"/>
                    </a:cubicBezTo>
                    <a:close/>
                  </a:path>
                </a:pathLst>
              </a:cu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</p:grpSp>
        <p:sp>
          <p:nvSpPr>
            <p:cNvPr id="91" name="Freeform 22"/>
            <p:cNvSpPr/>
            <p:nvPr/>
          </p:nvSpPr>
          <p:spPr>
            <a:xfrm>
              <a:off x="6563042" y="2228850"/>
              <a:ext cx="605790" cy="826770"/>
            </a:xfrm>
            <a:custGeom>
              <a:avLst/>
              <a:gdLst>
                <a:gd name="connsiteX0" fmla="*/ 163830 w 617220"/>
                <a:gd name="connsiteY0" fmla="*/ 114300 h 815340"/>
                <a:gd name="connsiteX1" fmla="*/ 521970 w 617220"/>
                <a:gd name="connsiteY1" fmla="*/ 815340 h 815340"/>
                <a:gd name="connsiteX2" fmla="*/ 617220 w 617220"/>
                <a:gd name="connsiteY2" fmla="*/ 765810 h 815340"/>
                <a:gd name="connsiteX3" fmla="*/ 266700 w 617220"/>
                <a:gd name="connsiteY3" fmla="*/ 102870 h 815340"/>
                <a:gd name="connsiteX4" fmla="*/ 434340 w 617220"/>
                <a:gd name="connsiteY4" fmla="*/ 45720 h 815340"/>
                <a:gd name="connsiteX5" fmla="*/ 300990 w 617220"/>
                <a:gd name="connsiteY5" fmla="*/ 0 h 815340"/>
                <a:gd name="connsiteX6" fmla="*/ 45720 w 617220"/>
                <a:gd name="connsiteY6" fmla="*/ 76200 h 815340"/>
                <a:gd name="connsiteX7" fmla="*/ 0 w 617220"/>
                <a:gd name="connsiteY7" fmla="*/ 160020 h 815340"/>
                <a:gd name="connsiteX8" fmla="*/ 163830 w 617220"/>
                <a:gd name="connsiteY8" fmla="*/ 114300 h 815340"/>
                <a:gd name="connsiteX0" fmla="*/ 160020 w 613410"/>
                <a:gd name="connsiteY0" fmla="*/ 114300 h 815340"/>
                <a:gd name="connsiteX1" fmla="*/ 518160 w 613410"/>
                <a:gd name="connsiteY1" fmla="*/ 815340 h 815340"/>
                <a:gd name="connsiteX2" fmla="*/ 613410 w 613410"/>
                <a:gd name="connsiteY2" fmla="*/ 765810 h 815340"/>
                <a:gd name="connsiteX3" fmla="*/ 262890 w 613410"/>
                <a:gd name="connsiteY3" fmla="*/ 102870 h 815340"/>
                <a:gd name="connsiteX4" fmla="*/ 430530 w 613410"/>
                <a:gd name="connsiteY4" fmla="*/ 45720 h 815340"/>
                <a:gd name="connsiteX5" fmla="*/ 297180 w 613410"/>
                <a:gd name="connsiteY5" fmla="*/ 0 h 815340"/>
                <a:gd name="connsiteX6" fmla="*/ 41910 w 613410"/>
                <a:gd name="connsiteY6" fmla="*/ 76200 h 815340"/>
                <a:gd name="connsiteX7" fmla="*/ 0 w 613410"/>
                <a:gd name="connsiteY7" fmla="*/ 167640 h 815340"/>
                <a:gd name="connsiteX8" fmla="*/ 160020 w 613410"/>
                <a:gd name="connsiteY8" fmla="*/ 114300 h 815340"/>
                <a:gd name="connsiteX0" fmla="*/ 179070 w 613410"/>
                <a:gd name="connsiteY0" fmla="*/ 137160 h 815340"/>
                <a:gd name="connsiteX1" fmla="*/ 518160 w 613410"/>
                <a:gd name="connsiteY1" fmla="*/ 815340 h 815340"/>
                <a:gd name="connsiteX2" fmla="*/ 613410 w 613410"/>
                <a:gd name="connsiteY2" fmla="*/ 765810 h 815340"/>
                <a:gd name="connsiteX3" fmla="*/ 262890 w 613410"/>
                <a:gd name="connsiteY3" fmla="*/ 102870 h 815340"/>
                <a:gd name="connsiteX4" fmla="*/ 430530 w 613410"/>
                <a:gd name="connsiteY4" fmla="*/ 45720 h 815340"/>
                <a:gd name="connsiteX5" fmla="*/ 297180 w 613410"/>
                <a:gd name="connsiteY5" fmla="*/ 0 h 815340"/>
                <a:gd name="connsiteX6" fmla="*/ 41910 w 613410"/>
                <a:gd name="connsiteY6" fmla="*/ 76200 h 815340"/>
                <a:gd name="connsiteX7" fmla="*/ 0 w 613410"/>
                <a:gd name="connsiteY7" fmla="*/ 167640 h 815340"/>
                <a:gd name="connsiteX8" fmla="*/ 179070 w 61341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34290 w 605790"/>
                <a:gd name="connsiteY6" fmla="*/ 7620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34290 w 605790"/>
                <a:gd name="connsiteY6" fmla="*/ 9144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11430 w 605790"/>
                <a:gd name="connsiteY6" fmla="*/ 8382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11430 w 605790"/>
                <a:gd name="connsiteY6" fmla="*/ 10668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11430 w 605790"/>
                <a:gd name="connsiteY6" fmla="*/ 9525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22960"/>
                <a:gd name="connsiteX1" fmla="*/ 502920 w 605790"/>
                <a:gd name="connsiteY1" fmla="*/ 822960 h 822960"/>
                <a:gd name="connsiteX2" fmla="*/ 605790 w 605790"/>
                <a:gd name="connsiteY2" fmla="*/ 765810 h 822960"/>
                <a:gd name="connsiteX3" fmla="*/ 255270 w 605790"/>
                <a:gd name="connsiteY3" fmla="*/ 102870 h 822960"/>
                <a:gd name="connsiteX4" fmla="*/ 422910 w 605790"/>
                <a:gd name="connsiteY4" fmla="*/ 45720 h 822960"/>
                <a:gd name="connsiteX5" fmla="*/ 289560 w 605790"/>
                <a:gd name="connsiteY5" fmla="*/ 0 h 822960"/>
                <a:gd name="connsiteX6" fmla="*/ 11430 w 605790"/>
                <a:gd name="connsiteY6" fmla="*/ 95250 h 822960"/>
                <a:gd name="connsiteX7" fmla="*/ 0 w 605790"/>
                <a:gd name="connsiteY7" fmla="*/ 190500 h 822960"/>
                <a:gd name="connsiteX8" fmla="*/ 171450 w 605790"/>
                <a:gd name="connsiteY8" fmla="*/ 137160 h 822960"/>
                <a:gd name="connsiteX0" fmla="*/ 171450 w 605790"/>
                <a:gd name="connsiteY0" fmla="*/ 140970 h 826770"/>
                <a:gd name="connsiteX1" fmla="*/ 502920 w 605790"/>
                <a:gd name="connsiteY1" fmla="*/ 826770 h 826770"/>
                <a:gd name="connsiteX2" fmla="*/ 605790 w 605790"/>
                <a:gd name="connsiteY2" fmla="*/ 769620 h 826770"/>
                <a:gd name="connsiteX3" fmla="*/ 255270 w 605790"/>
                <a:gd name="connsiteY3" fmla="*/ 106680 h 826770"/>
                <a:gd name="connsiteX4" fmla="*/ 422910 w 605790"/>
                <a:gd name="connsiteY4" fmla="*/ 49530 h 826770"/>
                <a:gd name="connsiteX5" fmla="*/ 331470 w 605790"/>
                <a:gd name="connsiteY5" fmla="*/ 0 h 826770"/>
                <a:gd name="connsiteX6" fmla="*/ 11430 w 605790"/>
                <a:gd name="connsiteY6" fmla="*/ 99060 h 826770"/>
                <a:gd name="connsiteX7" fmla="*/ 0 w 605790"/>
                <a:gd name="connsiteY7" fmla="*/ 194310 h 826770"/>
                <a:gd name="connsiteX8" fmla="*/ 171450 w 605790"/>
                <a:gd name="connsiteY8" fmla="*/ 140970 h 826770"/>
                <a:gd name="connsiteX0" fmla="*/ 171450 w 605790"/>
                <a:gd name="connsiteY0" fmla="*/ 140970 h 826770"/>
                <a:gd name="connsiteX1" fmla="*/ 502920 w 605790"/>
                <a:gd name="connsiteY1" fmla="*/ 826770 h 826770"/>
                <a:gd name="connsiteX2" fmla="*/ 605790 w 605790"/>
                <a:gd name="connsiteY2" fmla="*/ 769620 h 826770"/>
                <a:gd name="connsiteX3" fmla="*/ 255270 w 605790"/>
                <a:gd name="connsiteY3" fmla="*/ 106680 h 826770"/>
                <a:gd name="connsiteX4" fmla="*/ 422910 w 605790"/>
                <a:gd name="connsiteY4" fmla="*/ 49530 h 826770"/>
                <a:gd name="connsiteX5" fmla="*/ 320040 w 605790"/>
                <a:gd name="connsiteY5" fmla="*/ 0 h 826770"/>
                <a:gd name="connsiteX6" fmla="*/ 11430 w 605790"/>
                <a:gd name="connsiteY6" fmla="*/ 99060 h 826770"/>
                <a:gd name="connsiteX7" fmla="*/ 0 w 605790"/>
                <a:gd name="connsiteY7" fmla="*/ 194310 h 826770"/>
                <a:gd name="connsiteX8" fmla="*/ 171450 w 605790"/>
                <a:gd name="connsiteY8" fmla="*/ 140970 h 82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5790" h="826770">
                  <a:moveTo>
                    <a:pt x="171450" y="140970"/>
                  </a:moveTo>
                  <a:lnTo>
                    <a:pt x="502920" y="826770"/>
                  </a:lnTo>
                  <a:lnTo>
                    <a:pt x="605790" y="769620"/>
                  </a:lnTo>
                  <a:lnTo>
                    <a:pt x="255270" y="106680"/>
                  </a:lnTo>
                  <a:lnTo>
                    <a:pt x="422910" y="49530"/>
                  </a:lnTo>
                  <a:lnTo>
                    <a:pt x="320040" y="0"/>
                  </a:lnTo>
                  <a:lnTo>
                    <a:pt x="11430" y="99060"/>
                  </a:lnTo>
                  <a:lnTo>
                    <a:pt x="0" y="194310"/>
                  </a:lnTo>
                  <a:lnTo>
                    <a:pt x="171450" y="140970"/>
                  </a:lnTo>
                  <a:close/>
                </a:path>
              </a:pathLst>
            </a:cu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"/>
                <a:cs typeface=""/>
              </a:endParaRPr>
            </a:p>
          </p:txBody>
        </p:sp>
        <p:cxnSp>
          <p:nvCxnSpPr>
            <p:cNvPr id="92" name="Straight Connector 23"/>
            <p:cNvCxnSpPr/>
            <p:nvPr/>
          </p:nvCxnSpPr>
          <p:spPr>
            <a:xfrm flipH="1">
              <a:off x="6788880" y="2363002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93" name="Straight Connector 24"/>
            <p:cNvCxnSpPr/>
            <p:nvPr/>
          </p:nvCxnSpPr>
          <p:spPr>
            <a:xfrm flipH="1">
              <a:off x="6820997" y="2424456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94" name="Straight Connector 25"/>
            <p:cNvCxnSpPr/>
            <p:nvPr/>
          </p:nvCxnSpPr>
          <p:spPr>
            <a:xfrm flipH="1">
              <a:off x="6854162" y="2487153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95" name="Straight Connector 26"/>
            <p:cNvCxnSpPr/>
            <p:nvPr/>
          </p:nvCxnSpPr>
          <p:spPr>
            <a:xfrm flipH="1">
              <a:off x="6896072" y="255156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96" name="Straight Connector 27"/>
            <p:cNvCxnSpPr/>
            <p:nvPr/>
          </p:nvCxnSpPr>
          <p:spPr>
            <a:xfrm flipH="1">
              <a:off x="6925500" y="261024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97" name="Straight Connector 28"/>
            <p:cNvCxnSpPr/>
            <p:nvPr/>
          </p:nvCxnSpPr>
          <p:spPr>
            <a:xfrm flipH="1">
              <a:off x="6949725" y="2667185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98" name="Straight Connector 29"/>
            <p:cNvCxnSpPr/>
            <p:nvPr/>
          </p:nvCxnSpPr>
          <p:spPr>
            <a:xfrm flipH="1">
              <a:off x="6981285" y="2724952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99" name="Straight Connector 30"/>
            <p:cNvCxnSpPr/>
            <p:nvPr/>
          </p:nvCxnSpPr>
          <p:spPr>
            <a:xfrm flipH="1">
              <a:off x="7004145" y="278019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100" name="Straight Connector 31"/>
            <p:cNvCxnSpPr/>
            <p:nvPr/>
          </p:nvCxnSpPr>
          <p:spPr>
            <a:xfrm flipH="1">
              <a:off x="7032720" y="284115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101" name="Straight Connector 32"/>
            <p:cNvCxnSpPr/>
            <p:nvPr/>
          </p:nvCxnSpPr>
          <p:spPr>
            <a:xfrm flipH="1">
              <a:off x="7068915" y="290211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83555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061011" y="1203263"/>
            <a:ext cx="6925235" cy="1277470"/>
          </a:xfrm>
          <a:prstGeom prst="rect">
            <a:avLst/>
          </a:prstGeom>
          <a:solidFill>
            <a:srgbClr val="FF7D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Freeform 88"/>
          <p:cNvSpPr>
            <a:spLocks noEditPoints="1"/>
          </p:cNvSpPr>
          <p:nvPr/>
        </p:nvSpPr>
        <p:spPr bwMode="auto">
          <a:xfrm rot="5400000">
            <a:off x="9989749" y="1481997"/>
            <a:ext cx="720189" cy="720002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4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403913" y="1379578"/>
            <a:ext cx="4251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设计方案</a:t>
            </a:r>
          </a:p>
        </p:txBody>
      </p:sp>
      <p:sp>
        <p:nvSpPr>
          <p:cNvPr id="15" name="矩形 14"/>
          <p:cNvSpPr/>
          <p:nvPr/>
        </p:nvSpPr>
        <p:spPr>
          <a:xfrm>
            <a:off x="4061011" y="2622816"/>
            <a:ext cx="6925236" cy="32272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1156446" y="1203263"/>
            <a:ext cx="2729754" cy="127747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1156448" y="2634178"/>
            <a:ext cx="2729752" cy="3215932"/>
          </a:xfrm>
          <a:prstGeom prst="rect">
            <a:avLst/>
          </a:prstGeom>
          <a:solidFill>
            <a:srgbClr val="FF7D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57299" y="1689776"/>
            <a:ext cx="25280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3000" dirty="0" smtClean="0">
                <a:solidFill>
                  <a:srgbClr val="0070C0"/>
                </a:solidFill>
              </a:rPr>
              <a:t>Project</a:t>
            </a:r>
            <a:r>
              <a:rPr kumimoji="1" lang="zh-CN" altLang="en-US" sz="3000" dirty="0" smtClean="0">
                <a:solidFill>
                  <a:srgbClr val="0070C0"/>
                </a:solidFill>
              </a:rPr>
              <a:t> </a:t>
            </a:r>
            <a:r>
              <a:rPr kumimoji="1" lang="en-US" altLang="zh-CN" sz="3000" dirty="0" smtClean="0">
                <a:solidFill>
                  <a:srgbClr val="0070C0"/>
                </a:solidFill>
              </a:rPr>
              <a:t>Stellar</a:t>
            </a:r>
            <a:endParaRPr kumimoji="1" lang="zh-CN" altLang="en-US" sz="3000" dirty="0" smtClean="0">
              <a:solidFill>
                <a:srgbClr val="0070C0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379640" y="1449017"/>
            <a:ext cx="1347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 smtClean="0">
                <a:solidFill>
                  <a:schemeClr val="bg2">
                    <a:lumMod val="50000"/>
                  </a:schemeClr>
                </a:solidFill>
              </a:rPr>
              <a:t>SCITLAS</a:t>
            </a:r>
            <a:endParaRPr kumimoji="1" lang="zh-CN" altLang="en-US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0" name="TextBox 5"/>
          <p:cNvSpPr txBox="1"/>
          <p:nvPr/>
        </p:nvSpPr>
        <p:spPr>
          <a:xfrm>
            <a:off x="4415406" y="2985360"/>
            <a:ext cx="6745651" cy="2502205"/>
          </a:xfrm>
          <a:prstGeom prst="rect">
            <a:avLst/>
          </a:prstGeom>
          <a:noFill/>
        </p:spPr>
        <p:txBody>
          <a:bodyPr wrap="square" lIns="68571" tIns="68571" rIns="68571" bIns="68571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FF7D0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金融数据处理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FF7D0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投资策略构建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FF7D0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回测模拟执行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FF7D0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数据可视化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FF7D0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人工智能深度学习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FF7D0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软件开发关键技术</a:t>
            </a:r>
            <a:endParaRPr lang="nl-BE" sz="2400" dirty="0" smtClean="0">
              <a:solidFill>
                <a:srgbClr val="FF7D0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1980427" y="3585460"/>
            <a:ext cx="1081792" cy="1083906"/>
            <a:chOff x="6563042" y="1919069"/>
            <a:chExt cx="1134038" cy="1136551"/>
          </a:xfrm>
        </p:grpSpPr>
        <p:grpSp>
          <p:nvGrpSpPr>
            <p:cNvPr id="22" name="Group 21"/>
            <p:cNvGrpSpPr/>
            <p:nvPr/>
          </p:nvGrpSpPr>
          <p:grpSpPr>
            <a:xfrm>
              <a:off x="6851824" y="1919069"/>
              <a:ext cx="845256" cy="916435"/>
              <a:chOff x="7000705" y="1812217"/>
              <a:chExt cx="914400" cy="991402"/>
            </a:xfrm>
          </p:grpSpPr>
          <p:sp>
            <p:nvSpPr>
              <p:cNvPr id="34" name="Oval 33"/>
              <p:cNvSpPr/>
              <p:nvPr/>
            </p:nvSpPr>
            <p:spPr>
              <a:xfrm>
                <a:off x="7192225" y="2251319"/>
                <a:ext cx="155418" cy="147836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sp>
            <p:nvSpPr>
              <p:cNvPr id="35" name="Trapezoid 34"/>
              <p:cNvSpPr/>
              <p:nvPr/>
            </p:nvSpPr>
            <p:spPr>
              <a:xfrm>
                <a:off x="7193281" y="2374325"/>
                <a:ext cx="154362" cy="258385"/>
              </a:xfrm>
              <a:prstGeom prst="trapezoid">
                <a:avLst>
                  <a:gd name="adj" fmla="val 16772"/>
                </a:avLst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 rot="900000">
                <a:off x="7000705" y="2157056"/>
                <a:ext cx="914400" cy="646563"/>
              </a:xfrm>
              <a:prstGeom prst="rect">
                <a:avLst/>
              </a:prstGeom>
              <a:noFill/>
              <a:ln w="2857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cxnSp>
            <p:nvCxnSpPr>
              <p:cNvPr id="37" name="Straight Connector 36"/>
              <p:cNvCxnSpPr/>
              <p:nvPr/>
            </p:nvCxnSpPr>
            <p:spPr>
              <a:xfrm>
                <a:off x="7147560" y="2514600"/>
                <a:ext cx="547052" cy="15240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sp>
            <p:nvSpPr>
              <p:cNvPr id="38" name="Oval 37"/>
              <p:cNvSpPr/>
              <p:nvPr/>
            </p:nvSpPr>
            <p:spPr>
              <a:xfrm>
                <a:off x="7121576" y="2341282"/>
                <a:ext cx="310345" cy="31034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cxnSp>
            <p:nvCxnSpPr>
              <p:cNvPr id="39" name="Straight Connector 38"/>
              <p:cNvCxnSpPr/>
              <p:nvPr/>
            </p:nvCxnSpPr>
            <p:spPr>
              <a:xfrm flipV="1">
                <a:off x="7574280" y="2538095"/>
                <a:ext cx="32068" cy="9271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40" name="Straight Connector 39"/>
              <p:cNvCxnSpPr/>
              <p:nvPr/>
            </p:nvCxnSpPr>
            <p:spPr>
              <a:xfrm flipV="1">
                <a:off x="7685404" y="2569210"/>
                <a:ext cx="32068" cy="9271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41" name="Straight Connector 40"/>
              <p:cNvCxnSpPr/>
              <p:nvPr/>
            </p:nvCxnSpPr>
            <p:spPr>
              <a:xfrm flipV="1">
                <a:off x="7457905" y="2505075"/>
                <a:ext cx="32068" cy="9271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42" name="Straight Connector 41"/>
              <p:cNvCxnSpPr/>
              <p:nvPr/>
            </p:nvCxnSpPr>
            <p:spPr>
              <a:xfrm flipV="1">
                <a:off x="7344309" y="2472627"/>
                <a:ext cx="32068" cy="9271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43" name="Straight Connector 42"/>
              <p:cNvCxnSpPr/>
              <p:nvPr/>
            </p:nvCxnSpPr>
            <p:spPr>
              <a:xfrm flipH="1">
                <a:off x="7147560" y="2209800"/>
                <a:ext cx="89852" cy="304800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sp>
            <p:nvSpPr>
              <p:cNvPr id="44" name="Rectangle 43"/>
              <p:cNvSpPr/>
              <p:nvPr/>
            </p:nvSpPr>
            <p:spPr>
              <a:xfrm rot="900000">
                <a:off x="7387126" y="2674459"/>
                <a:ext cx="228600" cy="113155"/>
              </a:xfrm>
              <a:prstGeom prst="rect">
                <a:avLst/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  <p:cxnSp>
            <p:nvCxnSpPr>
              <p:cNvPr id="45" name="Straight Connector 44"/>
              <p:cNvCxnSpPr/>
              <p:nvPr/>
            </p:nvCxnSpPr>
            <p:spPr>
              <a:xfrm>
                <a:off x="7296845" y="2209800"/>
                <a:ext cx="566995" cy="164525"/>
              </a:xfrm>
              <a:prstGeom prst="line">
                <a:avLst/>
              </a:prstGeom>
              <a:noFill/>
              <a:ln w="9525" cap="flat" cmpd="sng" algn="ctr">
                <a:solidFill>
                  <a:srgbClr val="FFFFFF"/>
                </a:solidFill>
                <a:prstDash val="sysDash"/>
              </a:ln>
              <a:effectLst/>
            </p:spPr>
          </p:cxnSp>
          <p:sp>
            <p:nvSpPr>
              <p:cNvPr id="46" name="Freeform 45"/>
              <p:cNvSpPr/>
              <p:nvPr/>
            </p:nvSpPr>
            <p:spPr>
              <a:xfrm rot="20700000">
                <a:off x="7451777" y="1812217"/>
                <a:ext cx="334954" cy="626744"/>
              </a:xfrm>
              <a:custGeom>
                <a:avLst/>
                <a:gdLst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0030 h 967740"/>
                  <a:gd name="connsiteX1" fmla="*/ 0 w 472440"/>
                  <a:gd name="connsiteY1" fmla="*/ 923925 h 967740"/>
                  <a:gd name="connsiteX2" fmla="*/ 205740 w 472440"/>
                  <a:gd name="connsiteY2" fmla="*/ 375285 h 967740"/>
                  <a:gd name="connsiteX3" fmla="*/ 472440 w 472440"/>
                  <a:gd name="connsiteY3" fmla="*/ 967740 h 967740"/>
                  <a:gd name="connsiteX4" fmla="*/ 228600 w 472440"/>
                  <a:gd name="connsiteY4" fmla="*/ 251460 h 967740"/>
                  <a:gd name="connsiteX5" fmla="*/ 360045 w 472440"/>
                  <a:gd name="connsiteY5" fmla="*/ 125730 h 967740"/>
                  <a:gd name="connsiteX6" fmla="*/ 209550 w 472440"/>
                  <a:gd name="connsiteY6" fmla="*/ 0 h 967740"/>
                  <a:gd name="connsiteX7" fmla="*/ 49530 w 472440"/>
                  <a:gd name="connsiteY7" fmla="*/ 102870 h 967740"/>
                  <a:gd name="connsiteX8" fmla="*/ 142875 w 472440"/>
                  <a:gd name="connsiteY8" fmla="*/ 240030 h 967740"/>
                  <a:gd name="connsiteX0" fmla="*/ 142875 w 472440"/>
                  <a:gd name="connsiteY0" fmla="*/ 241137 h 968847"/>
                  <a:gd name="connsiteX1" fmla="*/ 0 w 472440"/>
                  <a:gd name="connsiteY1" fmla="*/ 925032 h 968847"/>
                  <a:gd name="connsiteX2" fmla="*/ 205740 w 472440"/>
                  <a:gd name="connsiteY2" fmla="*/ 376392 h 968847"/>
                  <a:gd name="connsiteX3" fmla="*/ 472440 w 472440"/>
                  <a:gd name="connsiteY3" fmla="*/ 968847 h 968847"/>
                  <a:gd name="connsiteX4" fmla="*/ 228600 w 472440"/>
                  <a:gd name="connsiteY4" fmla="*/ 252567 h 968847"/>
                  <a:gd name="connsiteX5" fmla="*/ 360045 w 472440"/>
                  <a:gd name="connsiteY5" fmla="*/ 126837 h 968847"/>
                  <a:gd name="connsiteX6" fmla="*/ 209550 w 472440"/>
                  <a:gd name="connsiteY6" fmla="*/ 1107 h 968847"/>
                  <a:gd name="connsiteX7" fmla="*/ 49530 w 472440"/>
                  <a:gd name="connsiteY7" fmla="*/ 103977 h 968847"/>
                  <a:gd name="connsiteX8" fmla="*/ 142875 w 472440"/>
                  <a:gd name="connsiteY8" fmla="*/ 241137 h 968847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205740 w 472440"/>
                  <a:gd name="connsiteY2" fmla="*/ 377091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6004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205740 w 472440"/>
                  <a:gd name="connsiteY2" fmla="*/ 377091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6004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205740 w 472440"/>
                  <a:gd name="connsiteY2" fmla="*/ 377091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6004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6004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228600 w 472440"/>
                  <a:gd name="connsiteY4" fmla="*/ 253266 h 969546"/>
                  <a:gd name="connsiteX5" fmla="*/ 344805 w 472440"/>
                  <a:gd name="connsiteY5" fmla="*/ 127536 h 969546"/>
                  <a:gd name="connsiteX6" fmla="*/ 209550 w 472440"/>
                  <a:gd name="connsiteY6" fmla="*/ 1806 h 969546"/>
                  <a:gd name="connsiteX7" fmla="*/ 49530 w 472440"/>
                  <a:gd name="connsiteY7" fmla="*/ 104676 h 969546"/>
                  <a:gd name="connsiteX8" fmla="*/ 142875 w 472440"/>
                  <a:gd name="connsiteY8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3850 w 472440"/>
                  <a:gd name="connsiteY4" fmla="*/ 539017 h 969546"/>
                  <a:gd name="connsiteX5" fmla="*/ 228600 w 472440"/>
                  <a:gd name="connsiteY5" fmla="*/ 253266 h 969546"/>
                  <a:gd name="connsiteX6" fmla="*/ 344805 w 472440"/>
                  <a:gd name="connsiteY6" fmla="*/ 127536 h 969546"/>
                  <a:gd name="connsiteX7" fmla="*/ 209550 w 472440"/>
                  <a:gd name="connsiteY7" fmla="*/ 1806 h 969546"/>
                  <a:gd name="connsiteX8" fmla="*/ 49530 w 472440"/>
                  <a:gd name="connsiteY8" fmla="*/ 104676 h 969546"/>
                  <a:gd name="connsiteX9" fmla="*/ 142875 w 472440"/>
                  <a:gd name="connsiteY9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3375 w 472440"/>
                  <a:gd name="connsiteY4" fmla="*/ 573307 h 969546"/>
                  <a:gd name="connsiteX5" fmla="*/ 323850 w 472440"/>
                  <a:gd name="connsiteY5" fmla="*/ 539017 h 969546"/>
                  <a:gd name="connsiteX6" fmla="*/ 228600 w 472440"/>
                  <a:gd name="connsiteY6" fmla="*/ 253266 h 969546"/>
                  <a:gd name="connsiteX7" fmla="*/ 344805 w 472440"/>
                  <a:gd name="connsiteY7" fmla="*/ 127536 h 969546"/>
                  <a:gd name="connsiteX8" fmla="*/ 209550 w 472440"/>
                  <a:gd name="connsiteY8" fmla="*/ 1806 h 969546"/>
                  <a:gd name="connsiteX9" fmla="*/ 49530 w 472440"/>
                  <a:gd name="connsiteY9" fmla="*/ 104676 h 969546"/>
                  <a:gd name="connsiteX10" fmla="*/ 142875 w 472440"/>
                  <a:gd name="connsiteY10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3375 w 472440"/>
                  <a:gd name="connsiteY4" fmla="*/ 573307 h 969546"/>
                  <a:gd name="connsiteX5" fmla="*/ 323850 w 472440"/>
                  <a:gd name="connsiteY5" fmla="*/ 539017 h 969546"/>
                  <a:gd name="connsiteX6" fmla="*/ 312420 w 472440"/>
                  <a:gd name="connsiteY6" fmla="*/ 502822 h 969546"/>
                  <a:gd name="connsiteX7" fmla="*/ 228600 w 472440"/>
                  <a:gd name="connsiteY7" fmla="*/ 253266 h 969546"/>
                  <a:gd name="connsiteX8" fmla="*/ 344805 w 472440"/>
                  <a:gd name="connsiteY8" fmla="*/ 127536 h 969546"/>
                  <a:gd name="connsiteX9" fmla="*/ 209550 w 472440"/>
                  <a:gd name="connsiteY9" fmla="*/ 1806 h 969546"/>
                  <a:gd name="connsiteX10" fmla="*/ 49530 w 472440"/>
                  <a:gd name="connsiteY10" fmla="*/ 104676 h 969546"/>
                  <a:gd name="connsiteX11" fmla="*/ 142875 w 472440"/>
                  <a:gd name="connsiteY11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9090 w 472440"/>
                  <a:gd name="connsiteY4" fmla="*/ 594262 h 969546"/>
                  <a:gd name="connsiteX5" fmla="*/ 333375 w 472440"/>
                  <a:gd name="connsiteY5" fmla="*/ 573307 h 969546"/>
                  <a:gd name="connsiteX6" fmla="*/ 323850 w 472440"/>
                  <a:gd name="connsiteY6" fmla="*/ 53901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9090 w 472440"/>
                  <a:gd name="connsiteY4" fmla="*/ 594262 h 969546"/>
                  <a:gd name="connsiteX5" fmla="*/ 468630 w 472440"/>
                  <a:gd name="connsiteY5" fmla="*/ 548542 h 969546"/>
                  <a:gd name="connsiteX6" fmla="*/ 323850 w 472440"/>
                  <a:gd name="connsiteY6" fmla="*/ 53901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9090 w 472440"/>
                  <a:gd name="connsiteY4" fmla="*/ 594262 h 969546"/>
                  <a:gd name="connsiteX5" fmla="*/ 468630 w 472440"/>
                  <a:gd name="connsiteY5" fmla="*/ 548542 h 969546"/>
                  <a:gd name="connsiteX6" fmla="*/ 470535 w 472440"/>
                  <a:gd name="connsiteY6" fmla="*/ 51615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9565 w 472440"/>
                  <a:gd name="connsiteY4" fmla="*/ 542827 h 969546"/>
                  <a:gd name="connsiteX5" fmla="*/ 468630 w 472440"/>
                  <a:gd name="connsiteY5" fmla="*/ 548542 h 969546"/>
                  <a:gd name="connsiteX6" fmla="*/ 470535 w 472440"/>
                  <a:gd name="connsiteY6" fmla="*/ 51615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9565 w 472440"/>
                  <a:gd name="connsiteY4" fmla="*/ 542827 h 969546"/>
                  <a:gd name="connsiteX5" fmla="*/ 468630 w 472440"/>
                  <a:gd name="connsiteY5" fmla="*/ 548542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9565 w 472440"/>
                  <a:gd name="connsiteY4" fmla="*/ 542827 h 969546"/>
                  <a:gd name="connsiteX5" fmla="*/ 457200 w 472440"/>
                  <a:gd name="connsiteY5" fmla="*/ 539017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21945 w 472440"/>
                  <a:gd name="connsiteY4" fmla="*/ 533302 h 969546"/>
                  <a:gd name="connsiteX5" fmla="*/ 457200 w 472440"/>
                  <a:gd name="connsiteY5" fmla="*/ 539017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1470 w 472440"/>
                  <a:gd name="connsiteY4" fmla="*/ 537112 h 969546"/>
                  <a:gd name="connsiteX5" fmla="*/ 457200 w 472440"/>
                  <a:gd name="connsiteY5" fmla="*/ 539017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1470 w 472440"/>
                  <a:gd name="connsiteY4" fmla="*/ 537112 h 969546"/>
                  <a:gd name="connsiteX5" fmla="*/ 457200 w 472440"/>
                  <a:gd name="connsiteY5" fmla="*/ 533302 h 969546"/>
                  <a:gd name="connsiteX6" fmla="*/ 453390 w 472440"/>
                  <a:gd name="connsiteY6" fmla="*/ 499012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0 w 472440"/>
                  <a:gd name="connsiteY1" fmla="*/ 925731 h 969546"/>
                  <a:gd name="connsiteX2" fmla="*/ 198120 w 472440"/>
                  <a:gd name="connsiteY2" fmla="*/ 375186 h 969546"/>
                  <a:gd name="connsiteX3" fmla="*/ 472440 w 472440"/>
                  <a:gd name="connsiteY3" fmla="*/ 969546 h 969546"/>
                  <a:gd name="connsiteX4" fmla="*/ 331470 w 472440"/>
                  <a:gd name="connsiteY4" fmla="*/ 537112 h 969546"/>
                  <a:gd name="connsiteX5" fmla="*/ 457200 w 472440"/>
                  <a:gd name="connsiteY5" fmla="*/ 533302 h 969546"/>
                  <a:gd name="connsiteX6" fmla="*/ 451485 w 472440"/>
                  <a:gd name="connsiteY6" fmla="*/ 504727 h 969546"/>
                  <a:gd name="connsiteX7" fmla="*/ 312420 w 472440"/>
                  <a:gd name="connsiteY7" fmla="*/ 502822 h 969546"/>
                  <a:gd name="connsiteX8" fmla="*/ 228600 w 472440"/>
                  <a:gd name="connsiteY8" fmla="*/ 253266 h 969546"/>
                  <a:gd name="connsiteX9" fmla="*/ 344805 w 472440"/>
                  <a:gd name="connsiteY9" fmla="*/ 127536 h 969546"/>
                  <a:gd name="connsiteX10" fmla="*/ 209550 w 472440"/>
                  <a:gd name="connsiteY10" fmla="*/ 1806 h 969546"/>
                  <a:gd name="connsiteX11" fmla="*/ 49530 w 472440"/>
                  <a:gd name="connsiteY11" fmla="*/ 104676 h 969546"/>
                  <a:gd name="connsiteX12" fmla="*/ 142875 w 472440"/>
                  <a:gd name="connsiteY12" fmla="*/ 241836 h 969546"/>
                  <a:gd name="connsiteX0" fmla="*/ 142875 w 472440"/>
                  <a:gd name="connsiteY0" fmla="*/ 241836 h 969546"/>
                  <a:gd name="connsiteX1" fmla="*/ 81915 w 472440"/>
                  <a:gd name="connsiteY1" fmla="*/ 537112 h 969546"/>
                  <a:gd name="connsiteX2" fmla="*/ 0 w 472440"/>
                  <a:gd name="connsiteY2" fmla="*/ 925731 h 969546"/>
                  <a:gd name="connsiteX3" fmla="*/ 198120 w 472440"/>
                  <a:gd name="connsiteY3" fmla="*/ 375186 h 969546"/>
                  <a:gd name="connsiteX4" fmla="*/ 472440 w 472440"/>
                  <a:gd name="connsiteY4" fmla="*/ 969546 h 969546"/>
                  <a:gd name="connsiteX5" fmla="*/ 331470 w 472440"/>
                  <a:gd name="connsiteY5" fmla="*/ 537112 h 969546"/>
                  <a:gd name="connsiteX6" fmla="*/ 457200 w 472440"/>
                  <a:gd name="connsiteY6" fmla="*/ 533302 h 969546"/>
                  <a:gd name="connsiteX7" fmla="*/ 451485 w 472440"/>
                  <a:gd name="connsiteY7" fmla="*/ 504727 h 969546"/>
                  <a:gd name="connsiteX8" fmla="*/ 312420 w 472440"/>
                  <a:gd name="connsiteY8" fmla="*/ 502822 h 969546"/>
                  <a:gd name="connsiteX9" fmla="*/ 228600 w 472440"/>
                  <a:gd name="connsiteY9" fmla="*/ 253266 h 969546"/>
                  <a:gd name="connsiteX10" fmla="*/ 344805 w 472440"/>
                  <a:gd name="connsiteY10" fmla="*/ 127536 h 969546"/>
                  <a:gd name="connsiteX11" fmla="*/ 209550 w 472440"/>
                  <a:gd name="connsiteY11" fmla="*/ 1806 h 969546"/>
                  <a:gd name="connsiteX12" fmla="*/ 49530 w 472440"/>
                  <a:gd name="connsiteY12" fmla="*/ 104676 h 969546"/>
                  <a:gd name="connsiteX13" fmla="*/ 142875 w 472440"/>
                  <a:gd name="connsiteY13" fmla="*/ 241836 h 969546"/>
                  <a:gd name="connsiteX0" fmla="*/ 142875 w 472440"/>
                  <a:gd name="connsiteY0" fmla="*/ 241836 h 969546"/>
                  <a:gd name="connsiteX1" fmla="*/ 83820 w 472440"/>
                  <a:gd name="connsiteY1" fmla="*/ 512347 h 969546"/>
                  <a:gd name="connsiteX2" fmla="*/ 81915 w 472440"/>
                  <a:gd name="connsiteY2" fmla="*/ 537112 h 969546"/>
                  <a:gd name="connsiteX3" fmla="*/ 0 w 472440"/>
                  <a:gd name="connsiteY3" fmla="*/ 925731 h 969546"/>
                  <a:gd name="connsiteX4" fmla="*/ 198120 w 472440"/>
                  <a:gd name="connsiteY4" fmla="*/ 375186 h 969546"/>
                  <a:gd name="connsiteX5" fmla="*/ 472440 w 472440"/>
                  <a:gd name="connsiteY5" fmla="*/ 969546 h 969546"/>
                  <a:gd name="connsiteX6" fmla="*/ 331470 w 472440"/>
                  <a:gd name="connsiteY6" fmla="*/ 537112 h 969546"/>
                  <a:gd name="connsiteX7" fmla="*/ 457200 w 472440"/>
                  <a:gd name="connsiteY7" fmla="*/ 533302 h 969546"/>
                  <a:gd name="connsiteX8" fmla="*/ 451485 w 472440"/>
                  <a:gd name="connsiteY8" fmla="*/ 504727 h 969546"/>
                  <a:gd name="connsiteX9" fmla="*/ 312420 w 472440"/>
                  <a:gd name="connsiteY9" fmla="*/ 502822 h 969546"/>
                  <a:gd name="connsiteX10" fmla="*/ 228600 w 472440"/>
                  <a:gd name="connsiteY10" fmla="*/ 253266 h 969546"/>
                  <a:gd name="connsiteX11" fmla="*/ 344805 w 472440"/>
                  <a:gd name="connsiteY11" fmla="*/ 127536 h 969546"/>
                  <a:gd name="connsiteX12" fmla="*/ 209550 w 472440"/>
                  <a:gd name="connsiteY12" fmla="*/ 1806 h 969546"/>
                  <a:gd name="connsiteX13" fmla="*/ 49530 w 472440"/>
                  <a:gd name="connsiteY13" fmla="*/ 104676 h 969546"/>
                  <a:gd name="connsiteX14" fmla="*/ 142875 w 472440"/>
                  <a:gd name="connsiteY14" fmla="*/ 241836 h 969546"/>
                  <a:gd name="connsiteX0" fmla="*/ 142875 w 472440"/>
                  <a:gd name="connsiteY0" fmla="*/ 241836 h 969546"/>
                  <a:gd name="connsiteX1" fmla="*/ 85725 w 472440"/>
                  <a:gd name="connsiteY1" fmla="*/ 495202 h 969546"/>
                  <a:gd name="connsiteX2" fmla="*/ 83820 w 472440"/>
                  <a:gd name="connsiteY2" fmla="*/ 512347 h 969546"/>
                  <a:gd name="connsiteX3" fmla="*/ 81915 w 472440"/>
                  <a:gd name="connsiteY3" fmla="*/ 537112 h 969546"/>
                  <a:gd name="connsiteX4" fmla="*/ 0 w 472440"/>
                  <a:gd name="connsiteY4" fmla="*/ 925731 h 969546"/>
                  <a:gd name="connsiteX5" fmla="*/ 198120 w 472440"/>
                  <a:gd name="connsiteY5" fmla="*/ 375186 h 969546"/>
                  <a:gd name="connsiteX6" fmla="*/ 472440 w 472440"/>
                  <a:gd name="connsiteY6" fmla="*/ 969546 h 969546"/>
                  <a:gd name="connsiteX7" fmla="*/ 331470 w 472440"/>
                  <a:gd name="connsiteY7" fmla="*/ 537112 h 969546"/>
                  <a:gd name="connsiteX8" fmla="*/ 457200 w 472440"/>
                  <a:gd name="connsiteY8" fmla="*/ 533302 h 969546"/>
                  <a:gd name="connsiteX9" fmla="*/ 451485 w 472440"/>
                  <a:gd name="connsiteY9" fmla="*/ 504727 h 969546"/>
                  <a:gd name="connsiteX10" fmla="*/ 312420 w 472440"/>
                  <a:gd name="connsiteY10" fmla="*/ 502822 h 969546"/>
                  <a:gd name="connsiteX11" fmla="*/ 228600 w 472440"/>
                  <a:gd name="connsiteY11" fmla="*/ 253266 h 969546"/>
                  <a:gd name="connsiteX12" fmla="*/ 344805 w 472440"/>
                  <a:gd name="connsiteY12" fmla="*/ 127536 h 969546"/>
                  <a:gd name="connsiteX13" fmla="*/ 209550 w 472440"/>
                  <a:gd name="connsiteY13" fmla="*/ 1806 h 969546"/>
                  <a:gd name="connsiteX14" fmla="*/ 49530 w 472440"/>
                  <a:gd name="connsiteY14" fmla="*/ 104676 h 969546"/>
                  <a:gd name="connsiteX15" fmla="*/ 142875 w 472440"/>
                  <a:gd name="connsiteY15" fmla="*/ 241836 h 969546"/>
                  <a:gd name="connsiteX0" fmla="*/ 142875 w 472440"/>
                  <a:gd name="connsiteY0" fmla="*/ 241836 h 969546"/>
                  <a:gd name="connsiteX1" fmla="*/ 91440 w 472440"/>
                  <a:gd name="connsiteY1" fmla="*/ 468532 h 969546"/>
                  <a:gd name="connsiteX2" fmla="*/ 85725 w 472440"/>
                  <a:gd name="connsiteY2" fmla="*/ 495202 h 969546"/>
                  <a:gd name="connsiteX3" fmla="*/ 83820 w 472440"/>
                  <a:gd name="connsiteY3" fmla="*/ 512347 h 969546"/>
                  <a:gd name="connsiteX4" fmla="*/ 81915 w 472440"/>
                  <a:gd name="connsiteY4" fmla="*/ 537112 h 969546"/>
                  <a:gd name="connsiteX5" fmla="*/ 0 w 472440"/>
                  <a:gd name="connsiteY5" fmla="*/ 925731 h 969546"/>
                  <a:gd name="connsiteX6" fmla="*/ 198120 w 472440"/>
                  <a:gd name="connsiteY6" fmla="*/ 375186 h 969546"/>
                  <a:gd name="connsiteX7" fmla="*/ 472440 w 472440"/>
                  <a:gd name="connsiteY7" fmla="*/ 969546 h 969546"/>
                  <a:gd name="connsiteX8" fmla="*/ 331470 w 472440"/>
                  <a:gd name="connsiteY8" fmla="*/ 537112 h 969546"/>
                  <a:gd name="connsiteX9" fmla="*/ 457200 w 472440"/>
                  <a:gd name="connsiteY9" fmla="*/ 533302 h 969546"/>
                  <a:gd name="connsiteX10" fmla="*/ 451485 w 472440"/>
                  <a:gd name="connsiteY10" fmla="*/ 504727 h 969546"/>
                  <a:gd name="connsiteX11" fmla="*/ 312420 w 472440"/>
                  <a:gd name="connsiteY11" fmla="*/ 502822 h 969546"/>
                  <a:gd name="connsiteX12" fmla="*/ 228600 w 472440"/>
                  <a:gd name="connsiteY12" fmla="*/ 253266 h 969546"/>
                  <a:gd name="connsiteX13" fmla="*/ 344805 w 472440"/>
                  <a:gd name="connsiteY13" fmla="*/ 127536 h 969546"/>
                  <a:gd name="connsiteX14" fmla="*/ 209550 w 472440"/>
                  <a:gd name="connsiteY14" fmla="*/ 1806 h 969546"/>
                  <a:gd name="connsiteX15" fmla="*/ 49530 w 472440"/>
                  <a:gd name="connsiteY15" fmla="*/ 104676 h 969546"/>
                  <a:gd name="connsiteX16" fmla="*/ 142875 w 472440"/>
                  <a:gd name="connsiteY16" fmla="*/ 241836 h 969546"/>
                  <a:gd name="connsiteX0" fmla="*/ 215265 w 544830"/>
                  <a:gd name="connsiteY0" fmla="*/ 241836 h 969546"/>
                  <a:gd name="connsiteX1" fmla="*/ 163830 w 544830"/>
                  <a:gd name="connsiteY1" fmla="*/ 468532 h 969546"/>
                  <a:gd name="connsiteX2" fmla="*/ 0 w 544830"/>
                  <a:gd name="connsiteY2" fmla="*/ 481867 h 969546"/>
                  <a:gd name="connsiteX3" fmla="*/ 156210 w 544830"/>
                  <a:gd name="connsiteY3" fmla="*/ 512347 h 969546"/>
                  <a:gd name="connsiteX4" fmla="*/ 154305 w 544830"/>
                  <a:gd name="connsiteY4" fmla="*/ 53711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215265 w 544830"/>
                  <a:gd name="connsiteY0" fmla="*/ 241836 h 969546"/>
                  <a:gd name="connsiteX1" fmla="*/ 163830 w 544830"/>
                  <a:gd name="connsiteY1" fmla="*/ 468532 h 969546"/>
                  <a:gd name="connsiteX2" fmla="*/ 0 w 544830"/>
                  <a:gd name="connsiteY2" fmla="*/ 481867 h 969546"/>
                  <a:gd name="connsiteX3" fmla="*/ 19050 w 544830"/>
                  <a:gd name="connsiteY3" fmla="*/ 531397 h 969546"/>
                  <a:gd name="connsiteX4" fmla="*/ 154305 w 544830"/>
                  <a:gd name="connsiteY4" fmla="*/ 53711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215265 w 544830"/>
                  <a:gd name="connsiteY0" fmla="*/ 241836 h 969546"/>
                  <a:gd name="connsiteX1" fmla="*/ 165735 w 544830"/>
                  <a:gd name="connsiteY1" fmla="*/ 499012 h 969546"/>
                  <a:gd name="connsiteX2" fmla="*/ 0 w 544830"/>
                  <a:gd name="connsiteY2" fmla="*/ 481867 h 969546"/>
                  <a:gd name="connsiteX3" fmla="*/ 19050 w 544830"/>
                  <a:gd name="connsiteY3" fmla="*/ 531397 h 969546"/>
                  <a:gd name="connsiteX4" fmla="*/ 154305 w 544830"/>
                  <a:gd name="connsiteY4" fmla="*/ 53711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215265 w 544830"/>
                  <a:gd name="connsiteY0" fmla="*/ 241836 h 969546"/>
                  <a:gd name="connsiteX1" fmla="*/ 165735 w 544830"/>
                  <a:gd name="connsiteY1" fmla="*/ 499012 h 969546"/>
                  <a:gd name="connsiteX2" fmla="*/ 0 w 544830"/>
                  <a:gd name="connsiteY2" fmla="*/ 481867 h 969546"/>
                  <a:gd name="connsiteX3" fmla="*/ 19050 w 544830"/>
                  <a:gd name="connsiteY3" fmla="*/ 531397 h 969546"/>
                  <a:gd name="connsiteX4" fmla="*/ 158115 w 544830"/>
                  <a:gd name="connsiteY4" fmla="*/ 52949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215265 w 544830"/>
                  <a:gd name="connsiteY0" fmla="*/ 241836 h 969546"/>
                  <a:gd name="connsiteX1" fmla="*/ 165735 w 544830"/>
                  <a:gd name="connsiteY1" fmla="*/ 499012 h 969546"/>
                  <a:gd name="connsiteX2" fmla="*/ 0 w 544830"/>
                  <a:gd name="connsiteY2" fmla="*/ 481867 h 969546"/>
                  <a:gd name="connsiteX3" fmla="*/ 19050 w 544830"/>
                  <a:gd name="connsiteY3" fmla="*/ 514252 h 969546"/>
                  <a:gd name="connsiteX4" fmla="*/ 158115 w 544830"/>
                  <a:gd name="connsiteY4" fmla="*/ 529492 h 969546"/>
                  <a:gd name="connsiteX5" fmla="*/ 72390 w 544830"/>
                  <a:gd name="connsiteY5" fmla="*/ 925731 h 969546"/>
                  <a:gd name="connsiteX6" fmla="*/ 270510 w 544830"/>
                  <a:gd name="connsiteY6" fmla="*/ 375186 h 969546"/>
                  <a:gd name="connsiteX7" fmla="*/ 544830 w 544830"/>
                  <a:gd name="connsiteY7" fmla="*/ 969546 h 969546"/>
                  <a:gd name="connsiteX8" fmla="*/ 403860 w 544830"/>
                  <a:gd name="connsiteY8" fmla="*/ 537112 h 969546"/>
                  <a:gd name="connsiteX9" fmla="*/ 529590 w 544830"/>
                  <a:gd name="connsiteY9" fmla="*/ 533302 h 969546"/>
                  <a:gd name="connsiteX10" fmla="*/ 523875 w 544830"/>
                  <a:gd name="connsiteY10" fmla="*/ 504727 h 969546"/>
                  <a:gd name="connsiteX11" fmla="*/ 384810 w 544830"/>
                  <a:gd name="connsiteY11" fmla="*/ 502822 h 969546"/>
                  <a:gd name="connsiteX12" fmla="*/ 300990 w 544830"/>
                  <a:gd name="connsiteY12" fmla="*/ 253266 h 969546"/>
                  <a:gd name="connsiteX13" fmla="*/ 417195 w 544830"/>
                  <a:gd name="connsiteY13" fmla="*/ 127536 h 969546"/>
                  <a:gd name="connsiteX14" fmla="*/ 281940 w 544830"/>
                  <a:gd name="connsiteY14" fmla="*/ 1806 h 969546"/>
                  <a:gd name="connsiteX15" fmla="*/ 121920 w 544830"/>
                  <a:gd name="connsiteY15" fmla="*/ 104676 h 969546"/>
                  <a:gd name="connsiteX16" fmla="*/ 215265 w 544830"/>
                  <a:gd name="connsiteY16" fmla="*/ 241836 h 969546"/>
                  <a:gd name="connsiteX0" fmla="*/ 196215 w 525780"/>
                  <a:gd name="connsiteY0" fmla="*/ 241836 h 969546"/>
                  <a:gd name="connsiteX1" fmla="*/ 146685 w 525780"/>
                  <a:gd name="connsiteY1" fmla="*/ 499012 h 969546"/>
                  <a:gd name="connsiteX2" fmla="*/ 7620 w 525780"/>
                  <a:gd name="connsiteY2" fmla="*/ 487582 h 969546"/>
                  <a:gd name="connsiteX3" fmla="*/ 0 w 525780"/>
                  <a:gd name="connsiteY3" fmla="*/ 514252 h 969546"/>
                  <a:gd name="connsiteX4" fmla="*/ 139065 w 525780"/>
                  <a:gd name="connsiteY4" fmla="*/ 529492 h 969546"/>
                  <a:gd name="connsiteX5" fmla="*/ 53340 w 525780"/>
                  <a:gd name="connsiteY5" fmla="*/ 925731 h 969546"/>
                  <a:gd name="connsiteX6" fmla="*/ 251460 w 525780"/>
                  <a:gd name="connsiteY6" fmla="*/ 375186 h 969546"/>
                  <a:gd name="connsiteX7" fmla="*/ 525780 w 525780"/>
                  <a:gd name="connsiteY7" fmla="*/ 969546 h 969546"/>
                  <a:gd name="connsiteX8" fmla="*/ 384810 w 525780"/>
                  <a:gd name="connsiteY8" fmla="*/ 537112 h 969546"/>
                  <a:gd name="connsiteX9" fmla="*/ 510540 w 525780"/>
                  <a:gd name="connsiteY9" fmla="*/ 533302 h 969546"/>
                  <a:gd name="connsiteX10" fmla="*/ 504825 w 525780"/>
                  <a:gd name="connsiteY10" fmla="*/ 504727 h 969546"/>
                  <a:gd name="connsiteX11" fmla="*/ 365760 w 525780"/>
                  <a:gd name="connsiteY11" fmla="*/ 502822 h 969546"/>
                  <a:gd name="connsiteX12" fmla="*/ 281940 w 525780"/>
                  <a:gd name="connsiteY12" fmla="*/ 253266 h 969546"/>
                  <a:gd name="connsiteX13" fmla="*/ 398145 w 525780"/>
                  <a:gd name="connsiteY13" fmla="*/ 127536 h 969546"/>
                  <a:gd name="connsiteX14" fmla="*/ 262890 w 525780"/>
                  <a:gd name="connsiteY14" fmla="*/ 1806 h 969546"/>
                  <a:gd name="connsiteX15" fmla="*/ 102870 w 525780"/>
                  <a:gd name="connsiteY15" fmla="*/ 104676 h 969546"/>
                  <a:gd name="connsiteX16" fmla="*/ 196215 w 525780"/>
                  <a:gd name="connsiteY16" fmla="*/ 241836 h 969546"/>
                  <a:gd name="connsiteX0" fmla="*/ 188595 w 518160"/>
                  <a:gd name="connsiteY0" fmla="*/ 241836 h 969546"/>
                  <a:gd name="connsiteX1" fmla="*/ 139065 w 518160"/>
                  <a:gd name="connsiteY1" fmla="*/ 499012 h 969546"/>
                  <a:gd name="connsiteX2" fmla="*/ 0 w 518160"/>
                  <a:gd name="connsiteY2" fmla="*/ 487582 h 969546"/>
                  <a:gd name="connsiteX3" fmla="*/ 0 w 518160"/>
                  <a:gd name="connsiteY3" fmla="*/ 527587 h 969546"/>
                  <a:gd name="connsiteX4" fmla="*/ 131445 w 518160"/>
                  <a:gd name="connsiteY4" fmla="*/ 529492 h 969546"/>
                  <a:gd name="connsiteX5" fmla="*/ 45720 w 518160"/>
                  <a:gd name="connsiteY5" fmla="*/ 925731 h 969546"/>
                  <a:gd name="connsiteX6" fmla="*/ 243840 w 518160"/>
                  <a:gd name="connsiteY6" fmla="*/ 375186 h 969546"/>
                  <a:gd name="connsiteX7" fmla="*/ 518160 w 518160"/>
                  <a:gd name="connsiteY7" fmla="*/ 969546 h 969546"/>
                  <a:gd name="connsiteX8" fmla="*/ 377190 w 518160"/>
                  <a:gd name="connsiteY8" fmla="*/ 537112 h 969546"/>
                  <a:gd name="connsiteX9" fmla="*/ 502920 w 518160"/>
                  <a:gd name="connsiteY9" fmla="*/ 533302 h 969546"/>
                  <a:gd name="connsiteX10" fmla="*/ 497205 w 518160"/>
                  <a:gd name="connsiteY10" fmla="*/ 504727 h 969546"/>
                  <a:gd name="connsiteX11" fmla="*/ 358140 w 518160"/>
                  <a:gd name="connsiteY11" fmla="*/ 502822 h 969546"/>
                  <a:gd name="connsiteX12" fmla="*/ 274320 w 518160"/>
                  <a:gd name="connsiteY12" fmla="*/ 253266 h 969546"/>
                  <a:gd name="connsiteX13" fmla="*/ 390525 w 518160"/>
                  <a:gd name="connsiteY13" fmla="*/ 127536 h 969546"/>
                  <a:gd name="connsiteX14" fmla="*/ 255270 w 518160"/>
                  <a:gd name="connsiteY14" fmla="*/ 1806 h 969546"/>
                  <a:gd name="connsiteX15" fmla="*/ 95250 w 518160"/>
                  <a:gd name="connsiteY15" fmla="*/ 104676 h 969546"/>
                  <a:gd name="connsiteX16" fmla="*/ 188595 w 518160"/>
                  <a:gd name="connsiteY16" fmla="*/ 241836 h 969546"/>
                  <a:gd name="connsiteX0" fmla="*/ 188595 w 518160"/>
                  <a:gd name="connsiteY0" fmla="*/ 241836 h 969546"/>
                  <a:gd name="connsiteX1" fmla="*/ 139065 w 518160"/>
                  <a:gd name="connsiteY1" fmla="*/ 499012 h 969546"/>
                  <a:gd name="connsiteX2" fmla="*/ 3810 w 518160"/>
                  <a:gd name="connsiteY2" fmla="*/ 499012 h 969546"/>
                  <a:gd name="connsiteX3" fmla="*/ 0 w 518160"/>
                  <a:gd name="connsiteY3" fmla="*/ 527587 h 969546"/>
                  <a:gd name="connsiteX4" fmla="*/ 131445 w 518160"/>
                  <a:gd name="connsiteY4" fmla="*/ 529492 h 969546"/>
                  <a:gd name="connsiteX5" fmla="*/ 45720 w 518160"/>
                  <a:gd name="connsiteY5" fmla="*/ 925731 h 969546"/>
                  <a:gd name="connsiteX6" fmla="*/ 243840 w 518160"/>
                  <a:gd name="connsiteY6" fmla="*/ 375186 h 969546"/>
                  <a:gd name="connsiteX7" fmla="*/ 518160 w 518160"/>
                  <a:gd name="connsiteY7" fmla="*/ 969546 h 969546"/>
                  <a:gd name="connsiteX8" fmla="*/ 377190 w 518160"/>
                  <a:gd name="connsiteY8" fmla="*/ 537112 h 969546"/>
                  <a:gd name="connsiteX9" fmla="*/ 502920 w 518160"/>
                  <a:gd name="connsiteY9" fmla="*/ 533302 h 969546"/>
                  <a:gd name="connsiteX10" fmla="*/ 497205 w 518160"/>
                  <a:gd name="connsiteY10" fmla="*/ 504727 h 969546"/>
                  <a:gd name="connsiteX11" fmla="*/ 358140 w 518160"/>
                  <a:gd name="connsiteY11" fmla="*/ 502822 h 969546"/>
                  <a:gd name="connsiteX12" fmla="*/ 274320 w 518160"/>
                  <a:gd name="connsiteY12" fmla="*/ 253266 h 969546"/>
                  <a:gd name="connsiteX13" fmla="*/ 390525 w 518160"/>
                  <a:gd name="connsiteY13" fmla="*/ 127536 h 969546"/>
                  <a:gd name="connsiteX14" fmla="*/ 255270 w 518160"/>
                  <a:gd name="connsiteY14" fmla="*/ 1806 h 969546"/>
                  <a:gd name="connsiteX15" fmla="*/ 95250 w 518160"/>
                  <a:gd name="connsiteY15" fmla="*/ 104676 h 969546"/>
                  <a:gd name="connsiteX16" fmla="*/ 188595 w 518160"/>
                  <a:gd name="connsiteY16" fmla="*/ 241836 h 969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18160" h="969546">
                    <a:moveTo>
                      <a:pt x="188595" y="241836"/>
                    </a:moveTo>
                    <a:lnTo>
                      <a:pt x="139065" y="499012"/>
                    </a:lnTo>
                    <a:lnTo>
                      <a:pt x="3810" y="499012"/>
                    </a:lnTo>
                    <a:lnTo>
                      <a:pt x="0" y="527587"/>
                    </a:lnTo>
                    <a:lnTo>
                      <a:pt x="131445" y="529492"/>
                    </a:lnTo>
                    <a:lnTo>
                      <a:pt x="45720" y="925731"/>
                    </a:lnTo>
                    <a:lnTo>
                      <a:pt x="243840" y="375186"/>
                    </a:lnTo>
                    <a:lnTo>
                      <a:pt x="518160" y="969546"/>
                    </a:lnTo>
                    <a:lnTo>
                      <a:pt x="377190" y="537112"/>
                    </a:lnTo>
                    <a:lnTo>
                      <a:pt x="502920" y="533302"/>
                    </a:lnTo>
                    <a:lnTo>
                      <a:pt x="497205" y="504727"/>
                    </a:lnTo>
                    <a:lnTo>
                      <a:pt x="358140" y="502822"/>
                    </a:lnTo>
                    <a:lnTo>
                      <a:pt x="274320" y="253266"/>
                    </a:lnTo>
                    <a:cubicBezTo>
                      <a:pt x="340995" y="249456"/>
                      <a:pt x="382905" y="182781"/>
                      <a:pt x="390525" y="127536"/>
                    </a:cubicBezTo>
                    <a:cubicBezTo>
                      <a:pt x="386080" y="38001"/>
                      <a:pt x="307340" y="7521"/>
                      <a:pt x="255270" y="1806"/>
                    </a:cubicBezTo>
                    <a:cubicBezTo>
                      <a:pt x="203835" y="-9624"/>
                      <a:pt x="106680" y="34191"/>
                      <a:pt x="95250" y="104676"/>
                    </a:cubicBezTo>
                    <a:cubicBezTo>
                      <a:pt x="78740" y="171351"/>
                      <a:pt x="130810" y="222786"/>
                      <a:pt x="188595" y="241836"/>
                    </a:cubicBezTo>
                    <a:close/>
                  </a:path>
                </a:pathLst>
              </a:custGeom>
              <a:no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4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"/>
                  <a:cs typeface=""/>
                </a:endParaRPr>
              </a:p>
            </p:txBody>
          </p:sp>
        </p:grpSp>
        <p:sp>
          <p:nvSpPr>
            <p:cNvPr id="23" name="Freeform 22"/>
            <p:cNvSpPr/>
            <p:nvPr/>
          </p:nvSpPr>
          <p:spPr>
            <a:xfrm>
              <a:off x="6563042" y="2228850"/>
              <a:ext cx="605790" cy="826770"/>
            </a:xfrm>
            <a:custGeom>
              <a:avLst/>
              <a:gdLst>
                <a:gd name="connsiteX0" fmla="*/ 163830 w 617220"/>
                <a:gd name="connsiteY0" fmla="*/ 114300 h 815340"/>
                <a:gd name="connsiteX1" fmla="*/ 521970 w 617220"/>
                <a:gd name="connsiteY1" fmla="*/ 815340 h 815340"/>
                <a:gd name="connsiteX2" fmla="*/ 617220 w 617220"/>
                <a:gd name="connsiteY2" fmla="*/ 765810 h 815340"/>
                <a:gd name="connsiteX3" fmla="*/ 266700 w 617220"/>
                <a:gd name="connsiteY3" fmla="*/ 102870 h 815340"/>
                <a:gd name="connsiteX4" fmla="*/ 434340 w 617220"/>
                <a:gd name="connsiteY4" fmla="*/ 45720 h 815340"/>
                <a:gd name="connsiteX5" fmla="*/ 300990 w 617220"/>
                <a:gd name="connsiteY5" fmla="*/ 0 h 815340"/>
                <a:gd name="connsiteX6" fmla="*/ 45720 w 617220"/>
                <a:gd name="connsiteY6" fmla="*/ 76200 h 815340"/>
                <a:gd name="connsiteX7" fmla="*/ 0 w 617220"/>
                <a:gd name="connsiteY7" fmla="*/ 160020 h 815340"/>
                <a:gd name="connsiteX8" fmla="*/ 163830 w 617220"/>
                <a:gd name="connsiteY8" fmla="*/ 114300 h 815340"/>
                <a:gd name="connsiteX0" fmla="*/ 160020 w 613410"/>
                <a:gd name="connsiteY0" fmla="*/ 114300 h 815340"/>
                <a:gd name="connsiteX1" fmla="*/ 518160 w 613410"/>
                <a:gd name="connsiteY1" fmla="*/ 815340 h 815340"/>
                <a:gd name="connsiteX2" fmla="*/ 613410 w 613410"/>
                <a:gd name="connsiteY2" fmla="*/ 765810 h 815340"/>
                <a:gd name="connsiteX3" fmla="*/ 262890 w 613410"/>
                <a:gd name="connsiteY3" fmla="*/ 102870 h 815340"/>
                <a:gd name="connsiteX4" fmla="*/ 430530 w 613410"/>
                <a:gd name="connsiteY4" fmla="*/ 45720 h 815340"/>
                <a:gd name="connsiteX5" fmla="*/ 297180 w 613410"/>
                <a:gd name="connsiteY5" fmla="*/ 0 h 815340"/>
                <a:gd name="connsiteX6" fmla="*/ 41910 w 613410"/>
                <a:gd name="connsiteY6" fmla="*/ 76200 h 815340"/>
                <a:gd name="connsiteX7" fmla="*/ 0 w 613410"/>
                <a:gd name="connsiteY7" fmla="*/ 167640 h 815340"/>
                <a:gd name="connsiteX8" fmla="*/ 160020 w 613410"/>
                <a:gd name="connsiteY8" fmla="*/ 114300 h 815340"/>
                <a:gd name="connsiteX0" fmla="*/ 179070 w 613410"/>
                <a:gd name="connsiteY0" fmla="*/ 137160 h 815340"/>
                <a:gd name="connsiteX1" fmla="*/ 518160 w 613410"/>
                <a:gd name="connsiteY1" fmla="*/ 815340 h 815340"/>
                <a:gd name="connsiteX2" fmla="*/ 613410 w 613410"/>
                <a:gd name="connsiteY2" fmla="*/ 765810 h 815340"/>
                <a:gd name="connsiteX3" fmla="*/ 262890 w 613410"/>
                <a:gd name="connsiteY3" fmla="*/ 102870 h 815340"/>
                <a:gd name="connsiteX4" fmla="*/ 430530 w 613410"/>
                <a:gd name="connsiteY4" fmla="*/ 45720 h 815340"/>
                <a:gd name="connsiteX5" fmla="*/ 297180 w 613410"/>
                <a:gd name="connsiteY5" fmla="*/ 0 h 815340"/>
                <a:gd name="connsiteX6" fmla="*/ 41910 w 613410"/>
                <a:gd name="connsiteY6" fmla="*/ 76200 h 815340"/>
                <a:gd name="connsiteX7" fmla="*/ 0 w 613410"/>
                <a:gd name="connsiteY7" fmla="*/ 167640 h 815340"/>
                <a:gd name="connsiteX8" fmla="*/ 179070 w 61341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34290 w 605790"/>
                <a:gd name="connsiteY6" fmla="*/ 7620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34290 w 605790"/>
                <a:gd name="connsiteY6" fmla="*/ 9144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11430 w 605790"/>
                <a:gd name="connsiteY6" fmla="*/ 8382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11430 w 605790"/>
                <a:gd name="connsiteY6" fmla="*/ 10668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15340"/>
                <a:gd name="connsiteX1" fmla="*/ 510540 w 605790"/>
                <a:gd name="connsiteY1" fmla="*/ 815340 h 815340"/>
                <a:gd name="connsiteX2" fmla="*/ 605790 w 605790"/>
                <a:gd name="connsiteY2" fmla="*/ 765810 h 815340"/>
                <a:gd name="connsiteX3" fmla="*/ 255270 w 605790"/>
                <a:gd name="connsiteY3" fmla="*/ 102870 h 815340"/>
                <a:gd name="connsiteX4" fmla="*/ 422910 w 605790"/>
                <a:gd name="connsiteY4" fmla="*/ 45720 h 815340"/>
                <a:gd name="connsiteX5" fmla="*/ 289560 w 605790"/>
                <a:gd name="connsiteY5" fmla="*/ 0 h 815340"/>
                <a:gd name="connsiteX6" fmla="*/ 11430 w 605790"/>
                <a:gd name="connsiteY6" fmla="*/ 95250 h 815340"/>
                <a:gd name="connsiteX7" fmla="*/ 0 w 605790"/>
                <a:gd name="connsiteY7" fmla="*/ 190500 h 815340"/>
                <a:gd name="connsiteX8" fmla="*/ 171450 w 605790"/>
                <a:gd name="connsiteY8" fmla="*/ 137160 h 815340"/>
                <a:gd name="connsiteX0" fmla="*/ 171450 w 605790"/>
                <a:gd name="connsiteY0" fmla="*/ 137160 h 822960"/>
                <a:gd name="connsiteX1" fmla="*/ 502920 w 605790"/>
                <a:gd name="connsiteY1" fmla="*/ 822960 h 822960"/>
                <a:gd name="connsiteX2" fmla="*/ 605790 w 605790"/>
                <a:gd name="connsiteY2" fmla="*/ 765810 h 822960"/>
                <a:gd name="connsiteX3" fmla="*/ 255270 w 605790"/>
                <a:gd name="connsiteY3" fmla="*/ 102870 h 822960"/>
                <a:gd name="connsiteX4" fmla="*/ 422910 w 605790"/>
                <a:gd name="connsiteY4" fmla="*/ 45720 h 822960"/>
                <a:gd name="connsiteX5" fmla="*/ 289560 w 605790"/>
                <a:gd name="connsiteY5" fmla="*/ 0 h 822960"/>
                <a:gd name="connsiteX6" fmla="*/ 11430 w 605790"/>
                <a:gd name="connsiteY6" fmla="*/ 95250 h 822960"/>
                <a:gd name="connsiteX7" fmla="*/ 0 w 605790"/>
                <a:gd name="connsiteY7" fmla="*/ 190500 h 822960"/>
                <a:gd name="connsiteX8" fmla="*/ 171450 w 605790"/>
                <a:gd name="connsiteY8" fmla="*/ 137160 h 822960"/>
                <a:gd name="connsiteX0" fmla="*/ 171450 w 605790"/>
                <a:gd name="connsiteY0" fmla="*/ 140970 h 826770"/>
                <a:gd name="connsiteX1" fmla="*/ 502920 w 605790"/>
                <a:gd name="connsiteY1" fmla="*/ 826770 h 826770"/>
                <a:gd name="connsiteX2" fmla="*/ 605790 w 605790"/>
                <a:gd name="connsiteY2" fmla="*/ 769620 h 826770"/>
                <a:gd name="connsiteX3" fmla="*/ 255270 w 605790"/>
                <a:gd name="connsiteY3" fmla="*/ 106680 h 826770"/>
                <a:gd name="connsiteX4" fmla="*/ 422910 w 605790"/>
                <a:gd name="connsiteY4" fmla="*/ 49530 h 826770"/>
                <a:gd name="connsiteX5" fmla="*/ 331470 w 605790"/>
                <a:gd name="connsiteY5" fmla="*/ 0 h 826770"/>
                <a:gd name="connsiteX6" fmla="*/ 11430 w 605790"/>
                <a:gd name="connsiteY6" fmla="*/ 99060 h 826770"/>
                <a:gd name="connsiteX7" fmla="*/ 0 w 605790"/>
                <a:gd name="connsiteY7" fmla="*/ 194310 h 826770"/>
                <a:gd name="connsiteX8" fmla="*/ 171450 w 605790"/>
                <a:gd name="connsiteY8" fmla="*/ 140970 h 826770"/>
                <a:gd name="connsiteX0" fmla="*/ 171450 w 605790"/>
                <a:gd name="connsiteY0" fmla="*/ 140970 h 826770"/>
                <a:gd name="connsiteX1" fmla="*/ 502920 w 605790"/>
                <a:gd name="connsiteY1" fmla="*/ 826770 h 826770"/>
                <a:gd name="connsiteX2" fmla="*/ 605790 w 605790"/>
                <a:gd name="connsiteY2" fmla="*/ 769620 h 826770"/>
                <a:gd name="connsiteX3" fmla="*/ 255270 w 605790"/>
                <a:gd name="connsiteY3" fmla="*/ 106680 h 826770"/>
                <a:gd name="connsiteX4" fmla="*/ 422910 w 605790"/>
                <a:gd name="connsiteY4" fmla="*/ 49530 h 826770"/>
                <a:gd name="connsiteX5" fmla="*/ 320040 w 605790"/>
                <a:gd name="connsiteY5" fmla="*/ 0 h 826770"/>
                <a:gd name="connsiteX6" fmla="*/ 11430 w 605790"/>
                <a:gd name="connsiteY6" fmla="*/ 99060 h 826770"/>
                <a:gd name="connsiteX7" fmla="*/ 0 w 605790"/>
                <a:gd name="connsiteY7" fmla="*/ 194310 h 826770"/>
                <a:gd name="connsiteX8" fmla="*/ 171450 w 605790"/>
                <a:gd name="connsiteY8" fmla="*/ 140970 h 82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5790" h="826770">
                  <a:moveTo>
                    <a:pt x="171450" y="140970"/>
                  </a:moveTo>
                  <a:lnTo>
                    <a:pt x="502920" y="826770"/>
                  </a:lnTo>
                  <a:lnTo>
                    <a:pt x="605790" y="769620"/>
                  </a:lnTo>
                  <a:lnTo>
                    <a:pt x="255270" y="106680"/>
                  </a:lnTo>
                  <a:lnTo>
                    <a:pt x="422910" y="49530"/>
                  </a:lnTo>
                  <a:lnTo>
                    <a:pt x="320040" y="0"/>
                  </a:lnTo>
                  <a:lnTo>
                    <a:pt x="11430" y="99060"/>
                  </a:lnTo>
                  <a:lnTo>
                    <a:pt x="0" y="194310"/>
                  </a:lnTo>
                  <a:lnTo>
                    <a:pt x="171450" y="140970"/>
                  </a:lnTo>
                  <a:close/>
                </a:path>
              </a:pathLst>
            </a:cu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"/>
                <a:cs typeface=""/>
              </a:endParaRPr>
            </a:p>
          </p:txBody>
        </p:sp>
        <p:cxnSp>
          <p:nvCxnSpPr>
            <p:cNvPr id="24" name="Straight Connector 23"/>
            <p:cNvCxnSpPr/>
            <p:nvPr/>
          </p:nvCxnSpPr>
          <p:spPr>
            <a:xfrm flipH="1">
              <a:off x="6788880" y="2363002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5" name="Straight Connector 24"/>
            <p:cNvCxnSpPr/>
            <p:nvPr/>
          </p:nvCxnSpPr>
          <p:spPr>
            <a:xfrm flipH="1">
              <a:off x="6820997" y="2424456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6" name="Straight Connector 25"/>
            <p:cNvCxnSpPr/>
            <p:nvPr/>
          </p:nvCxnSpPr>
          <p:spPr>
            <a:xfrm flipH="1">
              <a:off x="6854162" y="2487153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7" name="Straight Connector 26"/>
            <p:cNvCxnSpPr/>
            <p:nvPr/>
          </p:nvCxnSpPr>
          <p:spPr>
            <a:xfrm flipH="1">
              <a:off x="6896072" y="255156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8" name="Straight Connector 27"/>
            <p:cNvCxnSpPr/>
            <p:nvPr/>
          </p:nvCxnSpPr>
          <p:spPr>
            <a:xfrm flipH="1">
              <a:off x="6925500" y="261024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9" name="Straight Connector 28"/>
            <p:cNvCxnSpPr/>
            <p:nvPr/>
          </p:nvCxnSpPr>
          <p:spPr>
            <a:xfrm flipH="1">
              <a:off x="6949725" y="2667185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0" name="Straight Connector 29"/>
            <p:cNvCxnSpPr/>
            <p:nvPr/>
          </p:nvCxnSpPr>
          <p:spPr>
            <a:xfrm flipH="1">
              <a:off x="6981285" y="2724952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1" name="Straight Connector 30"/>
            <p:cNvCxnSpPr/>
            <p:nvPr/>
          </p:nvCxnSpPr>
          <p:spPr>
            <a:xfrm flipH="1">
              <a:off x="7004145" y="278019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2" name="Straight Connector 31"/>
            <p:cNvCxnSpPr/>
            <p:nvPr/>
          </p:nvCxnSpPr>
          <p:spPr>
            <a:xfrm flipH="1">
              <a:off x="7032720" y="284115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3" name="Straight Connector 32"/>
            <p:cNvCxnSpPr/>
            <p:nvPr/>
          </p:nvCxnSpPr>
          <p:spPr>
            <a:xfrm flipH="1">
              <a:off x="7068915" y="2902117"/>
              <a:ext cx="41910" cy="1714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4813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997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-2" y="2529000"/>
            <a:ext cx="12192002" cy="1800000"/>
          </a:xfrm>
          <a:prstGeom prst="rect">
            <a:avLst/>
          </a:prstGeom>
          <a:solidFill>
            <a:srgbClr val="4B89F0">
              <a:alpha val="3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-1" y="2529000"/>
            <a:ext cx="1800000" cy="1800000"/>
          </a:xfrm>
          <a:prstGeom prst="rect">
            <a:avLst/>
          </a:prstGeom>
          <a:solidFill>
            <a:srgbClr val="ED532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3793190" y="2967468"/>
            <a:ext cx="46056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项目计划</a:t>
            </a:r>
            <a:endParaRPr kumimoji="1" lang="zh-CN" altLang="en-US" sz="5400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10" name="Freeform 17"/>
          <p:cNvSpPr>
            <a:spLocks noEditPoints="1"/>
          </p:cNvSpPr>
          <p:nvPr/>
        </p:nvSpPr>
        <p:spPr bwMode="black">
          <a:xfrm>
            <a:off x="485781" y="2891924"/>
            <a:ext cx="880687" cy="1074150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1735" tIns="30867" rIns="61735" bIns="3086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dirty="0">
              <a:solidFill>
                <a:srgbClr val="FFFFFF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57009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061011" y="1203263"/>
            <a:ext cx="6925235" cy="1277470"/>
          </a:xfrm>
          <a:prstGeom prst="rect">
            <a:avLst/>
          </a:prstGeom>
          <a:solidFill>
            <a:srgbClr val="ED532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Freeform 88"/>
          <p:cNvSpPr>
            <a:spLocks noEditPoints="1"/>
          </p:cNvSpPr>
          <p:nvPr/>
        </p:nvSpPr>
        <p:spPr bwMode="auto">
          <a:xfrm rot="5400000">
            <a:off x="9989749" y="1481997"/>
            <a:ext cx="720189" cy="720002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4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403913" y="1379578"/>
            <a:ext cx="4251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项目计划</a:t>
            </a:r>
          </a:p>
        </p:txBody>
      </p:sp>
      <p:sp>
        <p:nvSpPr>
          <p:cNvPr id="15" name="矩形 14"/>
          <p:cNvSpPr/>
          <p:nvPr/>
        </p:nvSpPr>
        <p:spPr>
          <a:xfrm>
            <a:off x="4061011" y="2622816"/>
            <a:ext cx="6925236" cy="32272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1156446" y="1203263"/>
            <a:ext cx="2729754" cy="127747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1156448" y="2634178"/>
            <a:ext cx="2729752" cy="3215932"/>
          </a:xfrm>
          <a:prstGeom prst="rect">
            <a:avLst/>
          </a:prstGeom>
          <a:solidFill>
            <a:srgbClr val="ED532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57299" y="1689776"/>
            <a:ext cx="25280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3000" dirty="0" smtClean="0">
                <a:solidFill>
                  <a:srgbClr val="0070C0"/>
                </a:solidFill>
              </a:rPr>
              <a:t>Project</a:t>
            </a:r>
            <a:r>
              <a:rPr kumimoji="1" lang="zh-CN" altLang="en-US" sz="3000" dirty="0" smtClean="0">
                <a:solidFill>
                  <a:srgbClr val="0070C0"/>
                </a:solidFill>
              </a:rPr>
              <a:t> </a:t>
            </a:r>
            <a:r>
              <a:rPr kumimoji="1" lang="en-US" altLang="zh-CN" sz="3000" dirty="0" smtClean="0">
                <a:solidFill>
                  <a:srgbClr val="0070C0"/>
                </a:solidFill>
              </a:rPr>
              <a:t>Stellar</a:t>
            </a:r>
            <a:endParaRPr kumimoji="1" lang="zh-CN" altLang="en-US" sz="3000" dirty="0" smtClean="0">
              <a:solidFill>
                <a:srgbClr val="0070C0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379640" y="1449017"/>
            <a:ext cx="1347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 smtClean="0">
                <a:solidFill>
                  <a:schemeClr val="bg2">
                    <a:lumMod val="50000"/>
                  </a:schemeClr>
                </a:solidFill>
              </a:rPr>
              <a:t>SCITLAS</a:t>
            </a:r>
            <a:endParaRPr kumimoji="1" lang="zh-CN" altLang="en-US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0" name="TextBox 5"/>
          <p:cNvSpPr txBox="1"/>
          <p:nvPr/>
        </p:nvSpPr>
        <p:spPr>
          <a:xfrm>
            <a:off x="4415406" y="2985360"/>
            <a:ext cx="6745651" cy="2502205"/>
          </a:xfrm>
          <a:prstGeom prst="rect">
            <a:avLst/>
          </a:prstGeom>
          <a:noFill/>
        </p:spPr>
        <p:txBody>
          <a:bodyPr wrap="square" lIns="68571" tIns="68571" rIns="68571" bIns="68571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D5326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金融数据处理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D5326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投资策略构建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D5326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回测模拟执行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D5326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数据可视化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D5326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人工智能深度学习关键技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ED5326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软件开发关键技术</a:t>
            </a:r>
            <a:endParaRPr lang="nl-BE" sz="2400" dirty="0" smtClean="0">
              <a:solidFill>
                <a:srgbClr val="ED5326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sp>
        <p:nvSpPr>
          <p:cNvPr id="47" name="Freeform 17"/>
          <p:cNvSpPr>
            <a:spLocks noEditPoints="1"/>
          </p:cNvSpPr>
          <p:nvPr/>
        </p:nvSpPr>
        <p:spPr bwMode="black">
          <a:xfrm>
            <a:off x="2080979" y="3595216"/>
            <a:ext cx="880687" cy="1074150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1735" tIns="30867" rIns="61735" bIns="3086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dirty="0">
              <a:solidFill>
                <a:srgbClr val="FFFFFF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358131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713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cxnSp>
        <p:nvCxnSpPr>
          <p:cNvPr id="56" name="Elbow Connector 118"/>
          <p:cNvCxnSpPr/>
          <p:nvPr/>
        </p:nvCxnSpPr>
        <p:spPr>
          <a:xfrm rot="5400000">
            <a:off x="6541758" y="5342390"/>
            <a:ext cx="359230" cy="373386"/>
          </a:xfrm>
          <a:prstGeom prst="bentConnector2">
            <a:avLst/>
          </a:prstGeom>
          <a:noFill/>
          <a:ln w="12700" cap="flat" cmpd="sng" algn="ctr">
            <a:solidFill>
              <a:srgbClr val="363535"/>
            </a:solidFill>
            <a:prstDash val="solid"/>
            <a:tailEnd type="oval" w="med" len="med"/>
          </a:ln>
          <a:effectLst/>
        </p:spPr>
      </p:cxnSp>
      <p:grpSp>
        <p:nvGrpSpPr>
          <p:cNvPr id="57" name="Group 4"/>
          <p:cNvGrpSpPr/>
          <p:nvPr/>
        </p:nvGrpSpPr>
        <p:grpSpPr>
          <a:xfrm>
            <a:off x="4809381" y="3213918"/>
            <a:ext cx="5677202" cy="551204"/>
            <a:chOff x="4492890" y="3030884"/>
            <a:chExt cx="7567631" cy="734939"/>
          </a:xfrm>
          <a:solidFill>
            <a:srgbClr val="3397D3">
              <a:lumMod val="50000"/>
            </a:srgbClr>
          </a:solidFill>
        </p:grpSpPr>
        <p:sp>
          <p:nvSpPr>
            <p:cNvPr id="58" name="Rectangle 99"/>
            <p:cNvSpPr/>
            <p:nvPr/>
          </p:nvSpPr>
          <p:spPr bwMode="auto">
            <a:xfrm flipH="1" flipV="1">
              <a:off x="4495072" y="3067058"/>
              <a:ext cx="7565449" cy="69876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2358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</a:endParaRPr>
            </a:p>
          </p:txBody>
        </p:sp>
        <p:sp>
          <p:nvSpPr>
            <p:cNvPr id="59" name="TextBox 135"/>
            <p:cNvSpPr txBox="1">
              <a:spLocks noChangeArrowheads="1"/>
            </p:cNvSpPr>
            <p:nvPr/>
          </p:nvSpPr>
          <p:spPr bwMode="auto">
            <a:xfrm>
              <a:off x="4492890" y="3030884"/>
              <a:ext cx="818815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329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" pitchFamily="34" charset="0"/>
                </a:rPr>
                <a:t>2003</a:t>
              </a:r>
            </a:p>
          </p:txBody>
        </p:sp>
        <p:pic>
          <p:nvPicPr>
            <p:cNvPr id="60" name="Picture 3" descr="C:\Users\mchan\Desktop\SMS03-R2_rgb_r[1]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6842" y="3373255"/>
              <a:ext cx="1430746" cy="306113"/>
            </a:xfrm>
            <a:prstGeom prst="rect">
              <a:avLst/>
            </a:prstGeom>
            <a:grpFill/>
            <a:extLst/>
          </p:spPr>
        </p:pic>
      </p:grpSp>
      <p:grpSp>
        <p:nvGrpSpPr>
          <p:cNvPr id="61" name="Group 226"/>
          <p:cNvGrpSpPr/>
          <p:nvPr/>
        </p:nvGrpSpPr>
        <p:grpSpPr>
          <a:xfrm>
            <a:off x="8657945" y="1639353"/>
            <a:ext cx="2041492" cy="533866"/>
            <a:chOff x="9622971" y="931466"/>
            <a:chExt cx="2721281" cy="711821"/>
          </a:xfrm>
          <a:solidFill>
            <a:srgbClr val="3397D3">
              <a:lumMod val="50000"/>
            </a:srgbClr>
          </a:solidFill>
        </p:grpSpPr>
        <p:sp>
          <p:nvSpPr>
            <p:cNvPr id="62" name="Rectangle 128"/>
            <p:cNvSpPr/>
            <p:nvPr/>
          </p:nvSpPr>
          <p:spPr bwMode="auto">
            <a:xfrm flipH="1" flipV="1">
              <a:off x="9622971" y="931466"/>
              <a:ext cx="2437554" cy="711821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2358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</a:endParaRPr>
            </a:p>
          </p:txBody>
        </p:sp>
        <p:pic>
          <p:nvPicPr>
            <p:cNvPr id="63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0432762" y="1176826"/>
              <a:ext cx="1324896" cy="3451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7"/>
            <p:cNvSpPr txBox="1"/>
            <p:nvPr/>
          </p:nvSpPr>
          <p:spPr>
            <a:xfrm>
              <a:off x="11514444" y="1197767"/>
              <a:ext cx="829808" cy="2872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6854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rPr>
                <a:t>2012</a:t>
              </a:r>
            </a:p>
          </p:txBody>
        </p:sp>
        <p:sp>
          <p:nvSpPr>
            <p:cNvPr id="65" name="TextBox 154"/>
            <p:cNvSpPr txBox="1">
              <a:spLocks noChangeArrowheads="1"/>
            </p:cNvSpPr>
            <p:nvPr/>
          </p:nvSpPr>
          <p:spPr bwMode="auto">
            <a:xfrm>
              <a:off x="9696662" y="970893"/>
              <a:ext cx="818815" cy="430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329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" pitchFamily="34" charset="0"/>
                </a:rPr>
                <a:t>2012</a:t>
              </a:r>
            </a:p>
          </p:txBody>
        </p:sp>
      </p:grpSp>
      <p:grpSp>
        <p:nvGrpSpPr>
          <p:cNvPr id="66" name="Group 225"/>
          <p:cNvGrpSpPr/>
          <p:nvPr/>
        </p:nvGrpSpPr>
        <p:grpSpPr>
          <a:xfrm>
            <a:off x="7648801" y="2170761"/>
            <a:ext cx="2837786" cy="533866"/>
            <a:chOff x="8277796" y="1640010"/>
            <a:chExt cx="3782729" cy="711821"/>
          </a:xfrm>
          <a:solidFill>
            <a:srgbClr val="3397D3">
              <a:lumMod val="50000"/>
            </a:srgbClr>
          </a:solidFill>
        </p:grpSpPr>
        <p:sp>
          <p:nvSpPr>
            <p:cNvPr id="67" name="Rectangle 111"/>
            <p:cNvSpPr/>
            <p:nvPr/>
          </p:nvSpPr>
          <p:spPr bwMode="auto">
            <a:xfrm flipH="1" flipV="1">
              <a:off x="8277796" y="1640010"/>
              <a:ext cx="3782729" cy="711821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2358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</a:endParaRPr>
            </a:p>
          </p:txBody>
        </p:sp>
        <p:sp>
          <p:nvSpPr>
            <p:cNvPr id="68" name="TextBox 154"/>
            <p:cNvSpPr txBox="1">
              <a:spLocks noChangeArrowheads="1"/>
            </p:cNvSpPr>
            <p:nvPr/>
          </p:nvSpPr>
          <p:spPr bwMode="auto">
            <a:xfrm>
              <a:off x="8432848" y="1711481"/>
              <a:ext cx="799754" cy="430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329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" pitchFamily="34" charset="0"/>
                </a:rPr>
                <a:t>2011</a:t>
              </a:r>
            </a:p>
          </p:txBody>
        </p:sp>
        <p:pic>
          <p:nvPicPr>
            <p:cNvPr id="69" name="Picture 8" descr="\\eventsql\dvd\Online_ART\DVD_Art_Sept-2-2010\Logos\Windows Intune\Win-Intune_v_r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1122" y="1867141"/>
              <a:ext cx="914400" cy="374597"/>
            </a:xfrm>
            <a:prstGeom prst="rect">
              <a:avLst/>
            </a:prstGeom>
            <a:grpFill/>
            <a:extLst/>
          </p:spPr>
        </p:pic>
      </p:grpSp>
      <p:grpSp>
        <p:nvGrpSpPr>
          <p:cNvPr id="70" name="Group 12"/>
          <p:cNvGrpSpPr/>
          <p:nvPr/>
        </p:nvGrpSpPr>
        <p:grpSpPr>
          <a:xfrm>
            <a:off x="6052819" y="2704629"/>
            <a:ext cx="4433763" cy="533866"/>
            <a:chOff x="7043056" y="1926732"/>
            <a:chExt cx="5009923" cy="711821"/>
          </a:xfrm>
          <a:solidFill>
            <a:srgbClr val="3397D3">
              <a:lumMod val="50000"/>
            </a:srgbClr>
          </a:solidFill>
        </p:grpSpPr>
        <p:sp>
          <p:nvSpPr>
            <p:cNvPr id="71" name="Rectangle 103"/>
            <p:cNvSpPr/>
            <p:nvPr/>
          </p:nvSpPr>
          <p:spPr bwMode="auto">
            <a:xfrm flipH="1" flipV="1">
              <a:off x="7043056" y="1926732"/>
              <a:ext cx="5009923" cy="711821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2358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</a:endParaRPr>
            </a:p>
          </p:txBody>
        </p:sp>
        <p:sp>
          <p:nvSpPr>
            <p:cNvPr id="72" name="TextBox 154"/>
            <p:cNvSpPr txBox="1">
              <a:spLocks noChangeArrowheads="1"/>
            </p:cNvSpPr>
            <p:nvPr/>
          </p:nvSpPr>
          <p:spPr bwMode="auto">
            <a:xfrm>
              <a:off x="7144023" y="1926732"/>
              <a:ext cx="694094" cy="430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329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" pitchFamily="34" charset="0"/>
                </a:rPr>
                <a:t>2007</a:t>
              </a:r>
            </a:p>
          </p:txBody>
        </p:sp>
        <p:pic>
          <p:nvPicPr>
            <p:cNvPr id="73" name="Picture 3" descr="\\eventsql\dvd\Online_ART\DVD_Art_Sept-2-2010\Logos\System Center\System Center Configuration Manager 2007\System Center Configuration Manager 2007 logo rev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9641" y="2217710"/>
              <a:ext cx="1536868" cy="370558"/>
            </a:xfrm>
            <a:prstGeom prst="rect">
              <a:avLst/>
            </a:prstGeom>
            <a:grpFill/>
            <a:extLst/>
          </p:spPr>
        </p:pic>
      </p:grpSp>
      <p:grpSp>
        <p:nvGrpSpPr>
          <p:cNvPr id="74" name="Group 10"/>
          <p:cNvGrpSpPr/>
          <p:nvPr/>
        </p:nvGrpSpPr>
        <p:grpSpPr>
          <a:xfrm>
            <a:off x="3149912" y="3765119"/>
            <a:ext cx="7336675" cy="524074"/>
            <a:chOff x="2852057" y="3340723"/>
            <a:chExt cx="9200929" cy="698765"/>
          </a:xfrm>
          <a:solidFill>
            <a:srgbClr val="3397D3">
              <a:lumMod val="50000"/>
            </a:srgbClr>
          </a:solidFill>
        </p:grpSpPr>
        <p:sp>
          <p:nvSpPr>
            <p:cNvPr id="75" name="Rectangle 98"/>
            <p:cNvSpPr/>
            <p:nvPr/>
          </p:nvSpPr>
          <p:spPr bwMode="auto">
            <a:xfrm flipH="1" flipV="1">
              <a:off x="2852057" y="3340723"/>
              <a:ext cx="9200929" cy="69876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2358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</a:endParaRPr>
            </a:p>
          </p:txBody>
        </p:sp>
        <p:sp>
          <p:nvSpPr>
            <p:cNvPr id="76" name="TextBox 128"/>
            <p:cNvSpPr txBox="1">
              <a:spLocks noChangeArrowheads="1"/>
            </p:cNvSpPr>
            <p:nvPr/>
          </p:nvSpPr>
          <p:spPr bwMode="auto">
            <a:xfrm>
              <a:off x="3460053" y="3361107"/>
              <a:ext cx="770358" cy="430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329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" pitchFamily="34" charset="0"/>
                </a:rPr>
                <a:t>1999</a:t>
              </a:r>
            </a:p>
          </p:txBody>
        </p:sp>
        <p:sp>
          <p:nvSpPr>
            <p:cNvPr id="77" name="Freeform 37"/>
            <p:cNvSpPr>
              <a:spLocks/>
            </p:cNvSpPr>
            <p:nvPr/>
          </p:nvSpPr>
          <p:spPr bwMode="auto">
            <a:xfrm>
              <a:off x="4159476" y="3439748"/>
              <a:ext cx="1282643" cy="477837"/>
            </a:xfrm>
            <a:custGeom>
              <a:avLst/>
              <a:gdLst>
                <a:gd name="T0" fmla="*/ 2147483647 w 2064"/>
                <a:gd name="T1" fmla="*/ 2147483647 h 1342"/>
                <a:gd name="T2" fmla="*/ 2147483647 w 2064"/>
                <a:gd name="T3" fmla="*/ 2147483647 h 1342"/>
                <a:gd name="T4" fmla="*/ 2147483647 w 2064"/>
                <a:gd name="T5" fmla="*/ 2147483647 h 1342"/>
                <a:gd name="T6" fmla="*/ 2147483647 w 2064"/>
                <a:gd name="T7" fmla="*/ 2147483647 h 1342"/>
                <a:gd name="T8" fmla="*/ 2147483647 w 2064"/>
                <a:gd name="T9" fmla="*/ 2147483647 h 1342"/>
                <a:gd name="T10" fmla="*/ 2147483647 w 2064"/>
                <a:gd name="T11" fmla="*/ 2147483647 h 1342"/>
                <a:gd name="T12" fmla="*/ 2147483647 w 2064"/>
                <a:gd name="T13" fmla="*/ 2147483647 h 1342"/>
                <a:gd name="T14" fmla="*/ 2147483647 w 2064"/>
                <a:gd name="T15" fmla="*/ 2147483647 h 1342"/>
                <a:gd name="T16" fmla="*/ 2147483647 w 2064"/>
                <a:gd name="T17" fmla="*/ 2147483647 h 1342"/>
                <a:gd name="T18" fmla="*/ 2147483647 w 2064"/>
                <a:gd name="T19" fmla="*/ 1665402977 h 1342"/>
                <a:gd name="T20" fmla="*/ 2147483647 w 2064"/>
                <a:gd name="T21" fmla="*/ 1350350825 h 1342"/>
                <a:gd name="T22" fmla="*/ 2147483647 w 2064"/>
                <a:gd name="T23" fmla="*/ 1035298318 h 1342"/>
                <a:gd name="T24" fmla="*/ 2147483647 w 2064"/>
                <a:gd name="T25" fmla="*/ 720119585 h 1342"/>
                <a:gd name="T26" fmla="*/ 2147483647 w 2064"/>
                <a:gd name="T27" fmla="*/ 450074629 h 1342"/>
                <a:gd name="T28" fmla="*/ 2147483647 w 2064"/>
                <a:gd name="T29" fmla="*/ 270045045 h 1342"/>
                <a:gd name="T30" fmla="*/ 2147483647 w 2064"/>
                <a:gd name="T31" fmla="*/ 135022344 h 1342"/>
                <a:gd name="T32" fmla="*/ 2147483647 w 2064"/>
                <a:gd name="T33" fmla="*/ 45007563 h 1342"/>
                <a:gd name="T34" fmla="*/ 2147483647 w 2064"/>
                <a:gd name="T35" fmla="*/ 0 h 1342"/>
                <a:gd name="T36" fmla="*/ 2147483647 w 2064"/>
                <a:gd name="T37" fmla="*/ 0 h 1342"/>
                <a:gd name="T38" fmla="*/ 2147483647 w 2064"/>
                <a:gd name="T39" fmla="*/ 45007563 h 1342"/>
                <a:gd name="T40" fmla="*/ 2147483647 w 2064"/>
                <a:gd name="T41" fmla="*/ 135022344 h 1342"/>
                <a:gd name="T42" fmla="*/ 2147483647 w 2064"/>
                <a:gd name="T43" fmla="*/ 270045045 h 1342"/>
                <a:gd name="T44" fmla="*/ 2147483647 w 2064"/>
                <a:gd name="T45" fmla="*/ 450074629 h 1342"/>
                <a:gd name="T46" fmla="*/ 2147483647 w 2064"/>
                <a:gd name="T47" fmla="*/ 720119585 h 1342"/>
                <a:gd name="T48" fmla="*/ 875387497 w 2064"/>
                <a:gd name="T49" fmla="*/ 1035298318 h 1342"/>
                <a:gd name="T50" fmla="*/ 0 w 2064"/>
                <a:gd name="T51" fmla="*/ 1350350825 h 1342"/>
                <a:gd name="T52" fmla="*/ 0 w 2064"/>
                <a:gd name="T53" fmla="*/ 1665402977 h 1342"/>
                <a:gd name="T54" fmla="*/ 0 w 2064"/>
                <a:gd name="T55" fmla="*/ 2147483647 h 1342"/>
                <a:gd name="T56" fmla="*/ 0 w 2064"/>
                <a:gd name="T57" fmla="*/ 2147483647 h 1342"/>
                <a:gd name="T58" fmla="*/ 875387497 w 2064"/>
                <a:gd name="T59" fmla="*/ 2147483647 h 1342"/>
                <a:gd name="T60" fmla="*/ 2147483647 w 2064"/>
                <a:gd name="T61" fmla="*/ 2147483647 h 1342"/>
                <a:gd name="T62" fmla="*/ 2147483647 w 2064"/>
                <a:gd name="T63" fmla="*/ 2147483647 h 1342"/>
                <a:gd name="T64" fmla="*/ 2147483647 w 2064"/>
                <a:gd name="T65" fmla="*/ 2147483647 h 1342"/>
                <a:gd name="T66" fmla="*/ 2147483647 w 2064"/>
                <a:gd name="T67" fmla="*/ 2147483647 h 1342"/>
                <a:gd name="T68" fmla="*/ 2147483647 w 2064"/>
                <a:gd name="T69" fmla="*/ 2147483647 h 1342"/>
                <a:gd name="T70" fmla="*/ 2147483647 w 2064"/>
                <a:gd name="T71" fmla="*/ 2147483647 h 1342"/>
                <a:gd name="T72" fmla="*/ 2147483647 w 2064"/>
                <a:gd name="T73" fmla="*/ 2147483647 h 13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64"/>
                <a:gd name="T112" fmla="*/ 0 h 1342"/>
                <a:gd name="T113" fmla="*/ 2064 w 2064"/>
                <a:gd name="T114" fmla="*/ 1342 h 13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64" h="1342">
                  <a:moveTo>
                    <a:pt x="2022" y="1342"/>
                  </a:moveTo>
                  <a:lnTo>
                    <a:pt x="2031" y="1342"/>
                  </a:lnTo>
                  <a:lnTo>
                    <a:pt x="2039" y="1339"/>
                  </a:lnTo>
                  <a:lnTo>
                    <a:pt x="2046" y="1336"/>
                  </a:lnTo>
                  <a:lnTo>
                    <a:pt x="2052" y="1331"/>
                  </a:lnTo>
                  <a:lnTo>
                    <a:pt x="2057" y="1325"/>
                  </a:lnTo>
                  <a:lnTo>
                    <a:pt x="2060" y="1320"/>
                  </a:lnTo>
                  <a:lnTo>
                    <a:pt x="2063" y="1313"/>
                  </a:lnTo>
                  <a:lnTo>
                    <a:pt x="2064" y="1304"/>
                  </a:lnTo>
                  <a:lnTo>
                    <a:pt x="2064" y="37"/>
                  </a:lnTo>
                  <a:lnTo>
                    <a:pt x="2063" y="30"/>
                  </a:lnTo>
                  <a:lnTo>
                    <a:pt x="2060" y="23"/>
                  </a:lnTo>
                  <a:lnTo>
                    <a:pt x="2057" y="16"/>
                  </a:lnTo>
                  <a:lnTo>
                    <a:pt x="2052" y="10"/>
                  </a:lnTo>
                  <a:lnTo>
                    <a:pt x="2046" y="6"/>
                  </a:lnTo>
                  <a:lnTo>
                    <a:pt x="2039" y="3"/>
                  </a:lnTo>
                  <a:lnTo>
                    <a:pt x="2031" y="1"/>
                  </a:lnTo>
                  <a:lnTo>
                    <a:pt x="2022" y="0"/>
                  </a:lnTo>
                  <a:lnTo>
                    <a:pt x="42" y="0"/>
                  </a:lnTo>
                  <a:lnTo>
                    <a:pt x="33" y="1"/>
                  </a:lnTo>
                  <a:lnTo>
                    <a:pt x="25" y="3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7" y="16"/>
                  </a:lnTo>
                  <a:lnTo>
                    <a:pt x="2" y="23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0" y="1304"/>
                  </a:lnTo>
                  <a:lnTo>
                    <a:pt x="0" y="1313"/>
                  </a:lnTo>
                  <a:lnTo>
                    <a:pt x="2" y="1320"/>
                  </a:lnTo>
                  <a:lnTo>
                    <a:pt x="7" y="1325"/>
                  </a:lnTo>
                  <a:lnTo>
                    <a:pt x="12" y="1331"/>
                  </a:lnTo>
                  <a:lnTo>
                    <a:pt x="18" y="1336"/>
                  </a:lnTo>
                  <a:lnTo>
                    <a:pt x="25" y="1339"/>
                  </a:lnTo>
                  <a:lnTo>
                    <a:pt x="33" y="1342"/>
                  </a:lnTo>
                  <a:lnTo>
                    <a:pt x="42" y="1342"/>
                  </a:lnTo>
                  <a:lnTo>
                    <a:pt x="2022" y="1342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91329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" pitchFamily="34" charset="0"/>
                </a:rPr>
                <a:t>SMS 2.0</a:t>
              </a:r>
            </a:p>
          </p:txBody>
        </p:sp>
      </p:grpSp>
      <p:grpSp>
        <p:nvGrpSpPr>
          <p:cNvPr id="78" name="Group 9"/>
          <p:cNvGrpSpPr/>
          <p:nvPr/>
        </p:nvGrpSpPr>
        <p:grpSpPr>
          <a:xfrm>
            <a:off x="1537384" y="4268850"/>
            <a:ext cx="8949202" cy="544420"/>
            <a:chOff x="123824" y="4012361"/>
            <a:chExt cx="11929162" cy="725893"/>
          </a:xfrm>
          <a:solidFill>
            <a:srgbClr val="3397D3">
              <a:lumMod val="50000"/>
            </a:srgbClr>
          </a:solidFill>
        </p:grpSpPr>
        <p:sp>
          <p:nvSpPr>
            <p:cNvPr id="79" name="Rectangle 94"/>
            <p:cNvSpPr/>
            <p:nvPr/>
          </p:nvSpPr>
          <p:spPr bwMode="auto">
            <a:xfrm flipH="1" flipV="1">
              <a:off x="123824" y="4039489"/>
              <a:ext cx="11929162" cy="69876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2358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</a:endParaRPr>
            </a:p>
          </p:txBody>
        </p:sp>
        <p:sp>
          <p:nvSpPr>
            <p:cNvPr id="80" name="TextBox 12"/>
            <p:cNvSpPr txBox="1">
              <a:spLocks noChangeArrowheads="1"/>
            </p:cNvSpPr>
            <p:nvPr/>
          </p:nvSpPr>
          <p:spPr bwMode="auto">
            <a:xfrm>
              <a:off x="730257" y="4012361"/>
              <a:ext cx="818815" cy="430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329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" pitchFamily="34" charset="0"/>
                </a:rPr>
                <a:t>1994</a:t>
              </a:r>
            </a:p>
          </p:txBody>
        </p:sp>
        <p:sp>
          <p:nvSpPr>
            <p:cNvPr id="81" name="Freeform 37"/>
            <p:cNvSpPr>
              <a:spLocks/>
            </p:cNvSpPr>
            <p:nvPr/>
          </p:nvSpPr>
          <p:spPr bwMode="auto">
            <a:xfrm>
              <a:off x="1198562" y="4149952"/>
              <a:ext cx="1566862" cy="477837"/>
            </a:xfrm>
            <a:custGeom>
              <a:avLst/>
              <a:gdLst>
                <a:gd name="T0" fmla="*/ 2147483647 w 2064"/>
                <a:gd name="T1" fmla="*/ 2147483647 h 1342"/>
                <a:gd name="T2" fmla="*/ 2147483647 w 2064"/>
                <a:gd name="T3" fmla="*/ 2147483647 h 1342"/>
                <a:gd name="T4" fmla="*/ 2147483647 w 2064"/>
                <a:gd name="T5" fmla="*/ 2147483647 h 1342"/>
                <a:gd name="T6" fmla="*/ 2147483647 w 2064"/>
                <a:gd name="T7" fmla="*/ 2147483647 h 1342"/>
                <a:gd name="T8" fmla="*/ 2147483647 w 2064"/>
                <a:gd name="T9" fmla="*/ 2147483647 h 1342"/>
                <a:gd name="T10" fmla="*/ 2147483647 w 2064"/>
                <a:gd name="T11" fmla="*/ 2147483647 h 1342"/>
                <a:gd name="T12" fmla="*/ 2147483647 w 2064"/>
                <a:gd name="T13" fmla="*/ 2147483647 h 1342"/>
                <a:gd name="T14" fmla="*/ 2147483647 w 2064"/>
                <a:gd name="T15" fmla="*/ 2147483647 h 1342"/>
                <a:gd name="T16" fmla="*/ 2147483647 w 2064"/>
                <a:gd name="T17" fmla="*/ 2147483647 h 1342"/>
                <a:gd name="T18" fmla="*/ 2147483647 w 2064"/>
                <a:gd name="T19" fmla="*/ 1665402977 h 1342"/>
                <a:gd name="T20" fmla="*/ 2147483647 w 2064"/>
                <a:gd name="T21" fmla="*/ 1350350825 h 1342"/>
                <a:gd name="T22" fmla="*/ 2147483647 w 2064"/>
                <a:gd name="T23" fmla="*/ 1035298318 h 1342"/>
                <a:gd name="T24" fmla="*/ 2147483647 w 2064"/>
                <a:gd name="T25" fmla="*/ 720119585 h 1342"/>
                <a:gd name="T26" fmla="*/ 2147483647 w 2064"/>
                <a:gd name="T27" fmla="*/ 450074629 h 1342"/>
                <a:gd name="T28" fmla="*/ 2147483647 w 2064"/>
                <a:gd name="T29" fmla="*/ 270045045 h 1342"/>
                <a:gd name="T30" fmla="*/ 2147483647 w 2064"/>
                <a:gd name="T31" fmla="*/ 135022344 h 1342"/>
                <a:gd name="T32" fmla="*/ 2147483647 w 2064"/>
                <a:gd name="T33" fmla="*/ 45007563 h 1342"/>
                <a:gd name="T34" fmla="*/ 2147483647 w 2064"/>
                <a:gd name="T35" fmla="*/ 0 h 1342"/>
                <a:gd name="T36" fmla="*/ 2147483647 w 2064"/>
                <a:gd name="T37" fmla="*/ 0 h 1342"/>
                <a:gd name="T38" fmla="*/ 2147483647 w 2064"/>
                <a:gd name="T39" fmla="*/ 45007563 h 1342"/>
                <a:gd name="T40" fmla="*/ 2147483647 w 2064"/>
                <a:gd name="T41" fmla="*/ 135022344 h 1342"/>
                <a:gd name="T42" fmla="*/ 2147483647 w 2064"/>
                <a:gd name="T43" fmla="*/ 270045045 h 1342"/>
                <a:gd name="T44" fmla="*/ 2147483647 w 2064"/>
                <a:gd name="T45" fmla="*/ 450074629 h 1342"/>
                <a:gd name="T46" fmla="*/ 2147483647 w 2064"/>
                <a:gd name="T47" fmla="*/ 720119585 h 1342"/>
                <a:gd name="T48" fmla="*/ 875387497 w 2064"/>
                <a:gd name="T49" fmla="*/ 1035298318 h 1342"/>
                <a:gd name="T50" fmla="*/ 0 w 2064"/>
                <a:gd name="T51" fmla="*/ 1350350825 h 1342"/>
                <a:gd name="T52" fmla="*/ 0 w 2064"/>
                <a:gd name="T53" fmla="*/ 1665402977 h 1342"/>
                <a:gd name="T54" fmla="*/ 0 w 2064"/>
                <a:gd name="T55" fmla="*/ 2147483647 h 1342"/>
                <a:gd name="T56" fmla="*/ 0 w 2064"/>
                <a:gd name="T57" fmla="*/ 2147483647 h 1342"/>
                <a:gd name="T58" fmla="*/ 875387497 w 2064"/>
                <a:gd name="T59" fmla="*/ 2147483647 h 1342"/>
                <a:gd name="T60" fmla="*/ 2147483647 w 2064"/>
                <a:gd name="T61" fmla="*/ 2147483647 h 1342"/>
                <a:gd name="T62" fmla="*/ 2147483647 w 2064"/>
                <a:gd name="T63" fmla="*/ 2147483647 h 1342"/>
                <a:gd name="T64" fmla="*/ 2147483647 w 2064"/>
                <a:gd name="T65" fmla="*/ 2147483647 h 1342"/>
                <a:gd name="T66" fmla="*/ 2147483647 w 2064"/>
                <a:gd name="T67" fmla="*/ 2147483647 h 1342"/>
                <a:gd name="T68" fmla="*/ 2147483647 w 2064"/>
                <a:gd name="T69" fmla="*/ 2147483647 h 1342"/>
                <a:gd name="T70" fmla="*/ 2147483647 w 2064"/>
                <a:gd name="T71" fmla="*/ 2147483647 h 1342"/>
                <a:gd name="T72" fmla="*/ 2147483647 w 2064"/>
                <a:gd name="T73" fmla="*/ 2147483647 h 13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64"/>
                <a:gd name="T112" fmla="*/ 0 h 1342"/>
                <a:gd name="T113" fmla="*/ 2064 w 2064"/>
                <a:gd name="T114" fmla="*/ 1342 h 13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64" h="1342">
                  <a:moveTo>
                    <a:pt x="2022" y="1342"/>
                  </a:moveTo>
                  <a:lnTo>
                    <a:pt x="2031" y="1342"/>
                  </a:lnTo>
                  <a:lnTo>
                    <a:pt x="2039" y="1339"/>
                  </a:lnTo>
                  <a:lnTo>
                    <a:pt x="2046" y="1336"/>
                  </a:lnTo>
                  <a:lnTo>
                    <a:pt x="2052" y="1331"/>
                  </a:lnTo>
                  <a:lnTo>
                    <a:pt x="2057" y="1325"/>
                  </a:lnTo>
                  <a:lnTo>
                    <a:pt x="2060" y="1320"/>
                  </a:lnTo>
                  <a:lnTo>
                    <a:pt x="2063" y="1313"/>
                  </a:lnTo>
                  <a:lnTo>
                    <a:pt x="2064" y="1304"/>
                  </a:lnTo>
                  <a:lnTo>
                    <a:pt x="2064" y="37"/>
                  </a:lnTo>
                  <a:lnTo>
                    <a:pt x="2063" y="30"/>
                  </a:lnTo>
                  <a:lnTo>
                    <a:pt x="2060" y="23"/>
                  </a:lnTo>
                  <a:lnTo>
                    <a:pt x="2057" y="16"/>
                  </a:lnTo>
                  <a:lnTo>
                    <a:pt x="2052" y="10"/>
                  </a:lnTo>
                  <a:lnTo>
                    <a:pt x="2046" y="6"/>
                  </a:lnTo>
                  <a:lnTo>
                    <a:pt x="2039" y="3"/>
                  </a:lnTo>
                  <a:lnTo>
                    <a:pt x="2031" y="1"/>
                  </a:lnTo>
                  <a:lnTo>
                    <a:pt x="2022" y="0"/>
                  </a:lnTo>
                  <a:lnTo>
                    <a:pt x="42" y="0"/>
                  </a:lnTo>
                  <a:lnTo>
                    <a:pt x="33" y="1"/>
                  </a:lnTo>
                  <a:lnTo>
                    <a:pt x="25" y="3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7" y="16"/>
                  </a:lnTo>
                  <a:lnTo>
                    <a:pt x="2" y="23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0" y="1304"/>
                  </a:lnTo>
                  <a:lnTo>
                    <a:pt x="0" y="1313"/>
                  </a:lnTo>
                  <a:lnTo>
                    <a:pt x="2" y="1320"/>
                  </a:lnTo>
                  <a:lnTo>
                    <a:pt x="7" y="1325"/>
                  </a:lnTo>
                  <a:lnTo>
                    <a:pt x="12" y="1331"/>
                  </a:lnTo>
                  <a:lnTo>
                    <a:pt x="18" y="1336"/>
                  </a:lnTo>
                  <a:lnTo>
                    <a:pt x="25" y="1339"/>
                  </a:lnTo>
                  <a:lnTo>
                    <a:pt x="33" y="1342"/>
                  </a:lnTo>
                  <a:lnTo>
                    <a:pt x="42" y="1342"/>
                  </a:lnTo>
                  <a:lnTo>
                    <a:pt x="2022" y="1342"/>
                  </a:lnTo>
                  <a:close/>
                </a:path>
              </a:pathLst>
            </a:custGeom>
            <a:noFill/>
            <a:ln w="3175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91329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" pitchFamily="34" charset="0"/>
                </a:rPr>
                <a:t>SMS 1.0</a:t>
              </a:r>
            </a:p>
          </p:txBody>
        </p:sp>
      </p:grpSp>
      <p:cxnSp>
        <p:nvCxnSpPr>
          <p:cNvPr id="82" name="Straight Connector 22"/>
          <p:cNvCxnSpPr/>
          <p:nvPr/>
        </p:nvCxnSpPr>
        <p:spPr>
          <a:xfrm>
            <a:off x="2275770" y="4568885"/>
            <a:ext cx="0" cy="205740"/>
          </a:xfrm>
          <a:prstGeom prst="line">
            <a:avLst/>
          </a:prstGeom>
          <a:noFill/>
          <a:ln w="12700" cap="flat" cmpd="sng" algn="ctr">
            <a:solidFill>
              <a:srgbClr val="363535"/>
            </a:solidFill>
            <a:prstDash val="solid"/>
            <a:headEnd type="oval"/>
          </a:ln>
          <a:effectLst/>
        </p:spPr>
      </p:cxnSp>
      <p:cxnSp>
        <p:nvCxnSpPr>
          <p:cNvPr id="83" name="Straight Connector 82"/>
          <p:cNvCxnSpPr/>
          <p:nvPr/>
        </p:nvCxnSpPr>
        <p:spPr>
          <a:xfrm>
            <a:off x="3917832" y="4127468"/>
            <a:ext cx="8868" cy="685800"/>
          </a:xfrm>
          <a:prstGeom prst="line">
            <a:avLst/>
          </a:prstGeom>
          <a:noFill/>
          <a:ln w="12700" cap="flat" cmpd="sng" algn="ctr">
            <a:solidFill>
              <a:srgbClr val="363535"/>
            </a:solidFill>
            <a:prstDash val="solid"/>
            <a:headEnd type="oval"/>
          </a:ln>
          <a:effectLst/>
        </p:spPr>
      </p:cxnSp>
      <p:cxnSp>
        <p:nvCxnSpPr>
          <p:cNvPr id="84" name="Straight Connector 88"/>
          <p:cNvCxnSpPr/>
          <p:nvPr/>
        </p:nvCxnSpPr>
        <p:spPr>
          <a:xfrm flipH="1">
            <a:off x="6425293" y="3027794"/>
            <a:ext cx="24017" cy="1817561"/>
          </a:xfrm>
          <a:prstGeom prst="line">
            <a:avLst/>
          </a:prstGeom>
          <a:noFill/>
          <a:ln w="12700" cap="flat" cmpd="sng" algn="ctr">
            <a:solidFill>
              <a:srgbClr val="363535"/>
            </a:solidFill>
            <a:prstDash val="solid"/>
            <a:headEnd type="oval"/>
          </a:ln>
          <a:effectLst/>
        </p:spPr>
      </p:cxnSp>
      <p:cxnSp>
        <p:nvCxnSpPr>
          <p:cNvPr id="85" name="Straight Connector 86"/>
          <p:cNvCxnSpPr/>
          <p:nvPr/>
        </p:nvCxnSpPr>
        <p:spPr>
          <a:xfrm>
            <a:off x="5090353" y="3578828"/>
            <a:ext cx="0" cy="1234440"/>
          </a:xfrm>
          <a:prstGeom prst="line">
            <a:avLst/>
          </a:prstGeom>
          <a:noFill/>
          <a:ln w="12700" cap="flat" cmpd="sng" algn="ctr">
            <a:solidFill>
              <a:srgbClr val="363535"/>
            </a:solidFill>
            <a:prstDash val="solid"/>
            <a:headEnd type="oval"/>
          </a:ln>
          <a:effectLst/>
        </p:spPr>
      </p:cxnSp>
      <p:sp>
        <p:nvSpPr>
          <p:cNvPr id="86" name="Pentagon 78"/>
          <p:cNvSpPr/>
          <p:nvPr/>
        </p:nvSpPr>
        <p:spPr>
          <a:xfrm>
            <a:off x="1537387" y="4824809"/>
            <a:ext cx="1612526" cy="524658"/>
          </a:xfrm>
          <a:prstGeom prst="homePlate">
            <a:avLst/>
          </a:prstGeom>
          <a:solidFill>
            <a:srgbClr val="ED5326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Client Management Infancy (NT Domain)</a:t>
            </a:r>
          </a:p>
        </p:txBody>
      </p:sp>
      <p:sp>
        <p:nvSpPr>
          <p:cNvPr id="87" name="Chevron 252"/>
          <p:cNvSpPr/>
          <p:nvPr/>
        </p:nvSpPr>
        <p:spPr>
          <a:xfrm>
            <a:off x="3019632" y="4825406"/>
            <a:ext cx="1919787" cy="524063"/>
          </a:xfrm>
          <a:prstGeom prst="chevron">
            <a:avLst/>
          </a:prstGeom>
          <a:solidFill>
            <a:srgbClr val="ED532B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Groups Model</a:t>
            </a:r>
          </a:p>
        </p:txBody>
      </p:sp>
      <p:sp>
        <p:nvSpPr>
          <p:cNvPr id="88" name="Chevron 250"/>
          <p:cNvSpPr/>
          <p:nvPr/>
        </p:nvSpPr>
        <p:spPr>
          <a:xfrm>
            <a:off x="6234940" y="4825405"/>
            <a:ext cx="1608352" cy="524065"/>
          </a:xfrm>
          <a:prstGeom prst="chevron">
            <a:avLst/>
          </a:prstGeom>
          <a:solidFill>
            <a:srgbClr val="ED5326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Comprehensive Management</a:t>
            </a:r>
          </a:p>
        </p:txBody>
      </p:sp>
      <p:sp>
        <p:nvSpPr>
          <p:cNvPr id="89" name="Chevron 251"/>
          <p:cNvSpPr/>
          <p:nvPr/>
        </p:nvSpPr>
        <p:spPr>
          <a:xfrm>
            <a:off x="4811019" y="4825406"/>
            <a:ext cx="1539411" cy="524063"/>
          </a:xfrm>
          <a:prstGeom prst="chevron">
            <a:avLst/>
          </a:prstGeom>
          <a:solidFill>
            <a:srgbClr val="ED5326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Laptops, Servers, Enterprise Scale</a:t>
            </a:r>
          </a:p>
        </p:txBody>
      </p:sp>
      <p:sp>
        <p:nvSpPr>
          <p:cNvPr id="90" name="Chevron 79"/>
          <p:cNvSpPr/>
          <p:nvPr/>
        </p:nvSpPr>
        <p:spPr>
          <a:xfrm>
            <a:off x="9035026" y="4825405"/>
            <a:ext cx="1547811" cy="524065"/>
          </a:xfrm>
          <a:prstGeom prst="chevron">
            <a:avLst/>
          </a:prstGeom>
          <a:solidFill>
            <a:srgbClr val="ED5326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Consumerization of IT</a:t>
            </a:r>
          </a:p>
        </p:txBody>
      </p:sp>
      <p:cxnSp>
        <p:nvCxnSpPr>
          <p:cNvPr id="91" name="Straight Connector 114"/>
          <p:cNvCxnSpPr/>
          <p:nvPr/>
        </p:nvCxnSpPr>
        <p:spPr>
          <a:xfrm>
            <a:off x="8057884" y="2550128"/>
            <a:ext cx="1" cy="2263140"/>
          </a:xfrm>
          <a:prstGeom prst="line">
            <a:avLst/>
          </a:prstGeom>
          <a:noFill/>
          <a:ln w="12700" cap="flat" cmpd="sng" algn="ctr">
            <a:solidFill>
              <a:srgbClr val="363535"/>
            </a:solidFill>
            <a:prstDash val="solid"/>
            <a:headEnd type="oval"/>
          </a:ln>
          <a:effectLst/>
        </p:spPr>
      </p:cxnSp>
      <p:pic>
        <p:nvPicPr>
          <p:cNvPr id="92" name="Picture 5" descr="\\eventsql\dvd\Online_ART\DVD_Art_Sept-2-2010\Logos\Windows Server 2008\Windows Server Active Directory\Windows Server Active Directory v r 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1391" y="5474221"/>
            <a:ext cx="897625" cy="405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93" name="Elbow Connector 127"/>
          <p:cNvCxnSpPr/>
          <p:nvPr/>
        </p:nvCxnSpPr>
        <p:spPr>
          <a:xfrm rot="10800000" flipV="1">
            <a:off x="3634718" y="5349468"/>
            <a:ext cx="557709" cy="386123"/>
          </a:xfrm>
          <a:prstGeom prst="bentConnector3">
            <a:avLst>
              <a:gd name="adj1" fmla="val -1056"/>
            </a:avLst>
          </a:prstGeom>
          <a:noFill/>
          <a:ln w="12700" cap="flat" cmpd="sng" algn="ctr">
            <a:solidFill>
              <a:srgbClr val="363535"/>
            </a:solidFill>
            <a:prstDash val="solid"/>
            <a:tailEnd type="oval" w="med" len="med"/>
          </a:ln>
          <a:effectLst/>
        </p:spPr>
      </p:cxnSp>
      <p:cxnSp>
        <p:nvCxnSpPr>
          <p:cNvPr id="94" name="Straight Connector 133"/>
          <p:cNvCxnSpPr/>
          <p:nvPr/>
        </p:nvCxnSpPr>
        <p:spPr>
          <a:xfrm>
            <a:off x="8988146" y="2001488"/>
            <a:ext cx="1" cy="2811780"/>
          </a:xfrm>
          <a:prstGeom prst="line">
            <a:avLst/>
          </a:prstGeom>
          <a:noFill/>
          <a:ln w="12700" cap="flat" cmpd="sng" algn="ctr">
            <a:solidFill>
              <a:srgbClr val="363535"/>
            </a:solidFill>
            <a:prstDash val="solid"/>
            <a:headEnd type="oval"/>
          </a:ln>
          <a:effectLst/>
        </p:spPr>
      </p:cxnSp>
      <p:sp>
        <p:nvSpPr>
          <p:cNvPr id="95" name="Chevron 134"/>
          <p:cNvSpPr/>
          <p:nvPr/>
        </p:nvSpPr>
        <p:spPr>
          <a:xfrm>
            <a:off x="7717481" y="4825402"/>
            <a:ext cx="1450390" cy="524067"/>
          </a:xfrm>
          <a:prstGeom prst="chevron">
            <a:avLst/>
          </a:prstGeom>
          <a:solidFill>
            <a:srgbClr val="ED5326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4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"/>
                <a:cs typeface=""/>
              </a:rPr>
              <a:t>Management from the Cloud</a:t>
            </a:r>
          </a:p>
        </p:txBody>
      </p:sp>
      <p:cxnSp>
        <p:nvCxnSpPr>
          <p:cNvPr id="96" name="Elbow Connector 50"/>
          <p:cNvCxnSpPr/>
          <p:nvPr/>
        </p:nvCxnSpPr>
        <p:spPr>
          <a:xfrm rot="16200000" flipH="1">
            <a:off x="7736710" y="5371294"/>
            <a:ext cx="376466" cy="317882"/>
          </a:xfrm>
          <a:prstGeom prst="bentConnector2">
            <a:avLst/>
          </a:prstGeom>
          <a:noFill/>
          <a:ln w="12700" cap="flat" cmpd="sng" algn="ctr">
            <a:solidFill>
              <a:srgbClr val="363535"/>
            </a:solidFill>
            <a:prstDash val="solid"/>
            <a:tailEnd type="oval" w="med" len="med"/>
          </a:ln>
          <a:effectLst/>
        </p:spPr>
      </p:cxnSp>
      <p:pic>
        <p:nvPicPr>
          <p:cNvPr id="97" name="Picture 3" descr="\\sharepoint\sites\mspmg\pm\Shared Documents\Product\Endpoint Protection\Logos\FEP no version white on transparent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3013" y="5570026"/>
            <a:ext cx="999662" cy="29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6" descr="\\eventsql\dvd\Online_ART\DVD_Art_Sept-2-2010\Logos\Microsoft Desktop Optimization Pack\Desktop Optimzation Pack for Software Assurance logo r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249" y="5604272"/>
            <a:ext cx="1425265" cy="245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8262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0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2500"/>
                            </p:stCondLst>
                            <p:childTnLst>
                              <p:par>
                                <p:cTn id="8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500"/>
                            </p:stCondLst>
                            <p:childTnLst>
                              <p:par>
                                <p:cTn id="9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  <p:bldP spid="87" grpId="0" animBg="1"/>
      <p:bldP spid="88" grpId="0" animBg="1"/>
      <p:bldP spid="89" grpId="0" animBg="1"/>
      <p:bldP spid="90" grpId="0" animBg="1"/>
      <p:bldP spid="9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-2" y="2529000"/>
            <a:ext cx="12192002" cy="1800000"/>
          </a:xfrm>
          <a:prstGeom prst="rect">
            <a:avLst/>
          </a:prstGeom>
          <a:solidFill>
            <a:srgbClr val="4B89F0">
              <a:alpha val="3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-1" y="2529000"/>
            <a:ext cx="1800000" cy="1800000"/>
          </a:xfrm>
          <a:prstGeom prst="rect">
            <a:avLst/>
          </a:prstGeom>
          <a:solidFill>
            <a:srgbClr val="4B89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3097864" y="2967468"/>
            <a:ext cx="59962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其他</a:t>
            </a:r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事情</a:t>
            </a:r>
            <a:endParaRPr kumimoji="1" lang="zh-CN" altLang="en-US" sz="5400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pic>
        <p:nvPicPr>
          <p:cNvPr id="11" name="Picture 8"/>
          <p:cNvPicPr>
            <a:picLocks noChangeAspect="1" noChangeArrowheads="1"/>
          </p:cNvPicPr>
          <p:nvPr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257" y="2965758"/>
            <a:ext cx="811483" cy="926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9520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-2" y="2529000"/>
            <a:ext cx="12192002" cy="1800000"/>
          </a:xfrm>
          <a:prstGeom prst="rect">
            <a:avLst/>
          </a:prstGeom>
          <a:solidFill>
            <a:srgbClr val="4B89F0">
              <a:alpha val="3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-1" y="2529000"/>
            <a:ext cx="1800000" cy="18000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" name="Freeform 79"/>
          <p:cNvSpPr>
            <a:spLocks noEditPoints="1"/>
          </p:cNvSpPr>
          <p:nvPr/>
        </p:nvSpPr>
        <p:spPr bwMode="black">
          <a:xfrm>
            <a:off x="467342" y="2921168"/>
            <a:ext cx="865314" cy="1073485"/>
          </a:xfrm>
          <a:custGeom>
            <a:avLst/>
            <a:gdLst>
              <a:gd name="T0" fmla="*/ 277 w 277"/>
              <a:gd name="T1" fmla="*/ 171 h 344"/>
              <a:gd name="T2" fmla="*/ 277 w 277"/>
              <a:gd name="T3" fmla="*/ 251 h 344"/>
              <a:gd name="T4" fmla="*/ 274 w 277"/>
              <a:gd name="T5" fmla="*/ 258 h 344"/>
              <a:gd name="T6" fmla="*/ 251 w 277"/>
              <a:gd name="T7" fmla="*/ 280 h 344"/>
              <a:gd name="T8" fmla="*/ 251 w 277"/>
              <a:gd name="T9" fmla="*/ 295 h 344"/>
              <a:gd name="T10" fmla="*/ 248 w 277"/>
              <a:gd name="T11" fmla="*/ 302 h 344"/>
              <a:gd name="T12" fmla="*/ 241 w 277"/>
              <a:gd name="T13" fmla="*/ 305 h 344"/>
              <a:gd name="T14" fmla="*/ 10 w 277"/>
              <a:gd name="T15" fmla="*/ 305 h 344"/>
              <a:gd name="T16" fmla="*/ 3 w 277"/>
              <a:gd name="T17" fmla="*/ 302 h 344"/>
              <a:gd name="T18" fmla="*/ 0 w 277"/>
              <a:gd name="T19" fmla="*/ 295 h 344"/>
              <a:gd name="T20" fmla="*/ 0 w 277"/>
              <a:gd name="T21" fmla="*/ 9 h 344"/>
              <a:gd name="T22" fmla="*/ 3 w 277"/>
              <a:gd name="T23" fmla="*/ 2 h 344"/>
              <a:gd name="T24" fmla="*/ 10 w 277"/>
              <a:gd name="T25" fmla="*/ 0 h 344"/>
              <a:gd name="T26" fmla="*/ 241 w 277"/>
              <a:gd name="T27" fmla="*/ 0 h 344"/>
              <a:gd name="T28" fmla="*/ 248 w 277"/>
              <a:gd name="T29" fmla="*/ 2 h 344"/>
              <a:gd name="T30" fmla="*/ 251 w 277"/>
              <a:gd name="T31" fmla="*/ 9 h 344"/>
              <a:gd name="T32" fmla="*/ 251 w 277"/>
              <a:gd name="T33" fmla="*/ 143 h 344"/>
              <a:gd name="T34" fmla="*/ 274 w 277"/>
              <a:gd name="T35" fmla="*/ 164 h 344"/>
              <a:gd name="T36" fmla="*/ 277 w 277"/>
              <a:gd name="T37" fmla="*/ 171 h 344"/>
              <a:gd name="T38" fmla="*/ 3 w 277"/>
              <a:gd name="T39" fmla="*/ 2 h 344"/>
              <a:gd name="T40" fmla="*/ 0 w 277"/>
              <a:gd name="T41" fmla="*/ 9 h 344"/>
              <a:gd name="T42" fmla="*/ 0 w 277"/>
              <a:gd name="T43" fmla="*/ 295 h 344"/>
              <a:gd name="T44" fmla="*/ 3 w 277"/>
              <a:gd name="T45" fmla="*/ 302 h 344"/>
              <a:gd name="T46" fmla="*/ 10 w 277"/>
              <a:gd name="T47" fmla="*/ 305 h 344"/>
              <a:gd name="T48" fmla="*/ 199 w 277"/>
              <a:gd name="T49" fmla="*/ 305 h 344"/>
              <a:gd name="T50" fmla="*/ 199 w 277"/>
              <a:gd name="T51" fmla="*/ 191 h 344"/>
              <a:gd name="T52" fmla="*/ 216 w 277"/>
              <a:gd name="T53" fmla="*/ 171 h 344"/>
              <a:gd name="T54" fmla="*/ 222 w 277"/>
              <a:gd name="T55" fmla="*/ 155 h 344"/>
              <a:gd name="T56" fmla="*/ 222 w 277"/>
              <a:gd name="T57" fmla="*/ 56 h 344"/>
              <a:gd name="T58" fmla="*/ 202 w 277"/>
              <a:gd name="T59" fmla="*/ 32 h 344"/>
              <a:gd name="T60" fmla="*/ 31 w 277"/>
              <a:gd name="T61" fmla="*/ 0 h 344"/>
              <a:gd name="T62" fmla="*/ 10 w 277"/>
              <a:gd name="T63" fmla="*/ 0 h 344"/>
              <a:gd name="T64" fmla="*/ 3 w 277"/>
              <a:gd name="T65" fmla="*/ 2 h 344"/>
              <a:gd name="T66" fmla="*/ 200 w 277"/>
              <a:gd name="T67" fmla="*/ 47 h 344"/>
              <a:gd name="T68" fmla="*/ 11 w 277"/>
              <a:gd name="T69" fmla="*/ 11 h 344"/>
              <a:gd name="T70" fmla="*/ 4 w 277"/>
              <a:gd name="T71" fmla="*/ 13 h 344"/>
              <a:gd name="T72" fmla="*/ 0 w 277"/>
              <a:gd name="T73" fmla="*/ 20 h 344"/>
              <a:gd name="T74" fmla="*/ 0 w 277"/>
              <a:gd name="T75" fmla="*/ 302 h 344"/>
              <a:gd name="T76" fmla="*/ 8 w 277"/>
              <a:gd name="T77" fmla="*/ 311 h 344"/>
              <a:gd name="T78" fmla="*/ 173 w 277"/>
              <a:gd name="T79" fmla="*/ 343 h 344"/>
              <a:gd name="T80" fmla="*/ 181 w 277"/>
              <a:gd name="T81" fmla="*/ 341 h 344"/>
              <a:gd name="T82" fmla="*/ 184 w 277"/>
              <a:gd name="T83" fmla="*/ 334 h 344"/>
              <a:gd name="T84" fmla="*/ 184 w 277"/>
              <a:gd name="T85" fmla="*/ 185 h 344"/>
              <a:gd name="T86" fmla="*/ 205 w 277"/>
              <a:gd name="T87" fmla="*/ 161 h 344"/>
              <a:gd name="T88" fmla="*/ 207 w 277"/>
              <a:gd name="T89" fmla="*/ 155 h 344"/>
              <a:gd name="T90" fmla="*/ 207 w 277"/>
              <a:gd name="T91" fmla="*/ 56 h 344"/>
              <a:gd name="T92" fmla="*/ 200 w 277"/>
              <a:gd name="T93" fmla="*/ 47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77" h="344">
                <a:moveTo>
                  <a:pt x="277" y="171"/>
                </a:moveTo>
                <a:cubicBezTo>
                  <a:pt x="277" y="251"/>
                  <a:pt x="277" y="251"/>
                  <a:pt x="277" y="251"/>
                </a:cubicBezTo>
                <a:cubicBezTo>
                  <a:pt x="277" y="254"/>
                  <a:pt x="276" y="256"/>
                  <a:pt x="274" y="258"/>
                </a:cubicBezTo>
                <a:cubicBezTo>
                  <a:pt x="251" y="280"/>
                  <a:pt x="251" y="280"/>
                  <a:pt x="251" y="280"/>
                </a:cubicBezTo>
                <a:cubicBezTo>
                  <a:pt x="251" y="295"/>
                  <a:pt x="251" y="295"/>
                  <a:pt x="251" y="295"/>
                </a:cubicBezTo>
                <a:cubicBezTo>
                  <a:pt x="251" y="298"/>
                  <a:pt x="250" y="300"/>
                  <a:pt x="248" y="302"/>
                </a:cubicBezTo>
                <a:cubicBezTo>
                  <a:pt x="246" y="304"/>
                  <a:pt x="244" y="305"/>
                  <a:pt x="241" y="305"/>
                </a:cubicBezTo>
                <a:cubicBezTo>
                  <a:pt x="10" y="305"/>
                  <a:pt x="10" y="305"/>
                  <a:pt x="10" y="305"/>
                </a:cubicBezTo>
                <a:cubicBezTo>
                  <a:pt x="7" y="305"/>
                  <a:pt x="5" y="304"/>
                  <a:pt x="3" y="302"/>
                </a:cubicBezTo>
                <a:cubicBezTo>
                  <a:pt x="1" y="300"/>
                  <a:pt x="0" y="298"/>
                  <a:pt x="0" y="295"/>
                </a:cubicBezTo>
                <a:cubicBezTo>
                  <a:pt x="0" y="9"/>
                  <a:pt x="0" y="9"/>
                  <a:pt x="0" y="9"/>
                </a:cubicBezTo>
                <a:cubicBezTo>
                  <a:pt x="0" y="6"/>
                  <a:pt x="1" y="4"/>
                  <a:pt x="3" y="2"/>
                </a:cubicBezTo>
                <a:cubicBezTo>
                  <a:pt x="5" y="1"/>
                  <a:pt x="7" y="0"/>
                  <a:pt x="10" y="0"/>
                </a:cubicBezTo>
                <a:cubicBezTo>
                  <a:pt x="241" y="0"/>
                  <a:pt x="241" y="0"/>
                  <a:pt x="241" y="0"/>
                </a:cubicBezTo>
                <a:cubicBezTo>
                  <a:pt x="244" y="0"/>
                  <a:pt x="246" y="1"/>
                  <a:pt x="248" y="2"/>
                </a:cubicBezTo>
                <a:cubicBezTo>
                  <a:pt x="250" y="4"/>
                  <a:pt x="251" y="6"/>
                  <a:pt x="251" y="9"/>
                </a:cubicBezTo>
                <a:cubicBezTo>
                  <a:pt x="251" y="143"/>
                  <a:pt x="251" y="143"/>
                  <a:pt x="251" y="143"/>
                </a:cubicBezTo>
                <a:cubicBezTo>
                  <a:pt x="274" y="164"/>
                  <a:pt x="274" y="164"/>
                  <a:pt x="274" y="164"/>
                </a:cubicBezTo>
                <a:cubicBezTo>
                  <a:pt x="276" y="166"/>
                  <a:pt x="277" y="169"/>
                  <a:pt x="277" y="171"/>
                </a:cubicBezTo>
                <a:close/>
                <a:moveTo>
                  <a:pt x="3" y="2"/>
                </a:moveTo>
                <a:cubicBezTo>
                  <a:pt x="1" y="4"/>
                  <a:pt x="0" y="6"/>
                  <a:pt x="0" y="9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298"/>
                  <a:pt x="1" y="300"/>
                  <a:pt x="3" y="302"/>
                </a:cubicBezTo>
                <a:cubicBezTo>
                  <a:pt x="5" y="304"/>
                  <a:pt x="7" y="305"/>
                  <a:pt x="10" y="305"/>
                </a:cubicBezTo>
                <a:cubicBezTo>
                  <a:pt x="199" y="305"/>
                  <a:pt x="199" y="305"/>
                  <a:pt x="199" y="305"/>
                </a:cubicBezTo>
                <a:cubicBezTo>
                  <a:pt x="199" y="191"/>
                  <a:pt x="199" y="191"/>
                  <a:pt x="199" y="191"/>
                </a:cubicBezTo>
                <a:cubicBezTo>
                  <a:pt x="204" y="185"/>
                  <a:pt x="216" y="171"/>
                  <a:pt x="216" y="171"/>
                </a:cubicBezTo>
                <a:cubicBezTo>
                  <a:pt x="220" y="166"/>
                  <a:pt x="222" y="161"/>
                  <a:pt x="222" y="155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22" y="44"/>
                  <a:pt x="214" y="35"/>
                  <a:pt x="202" y="32"/>
                </a:cubicBezTo>
                <a:cubicBezTo>
                  <a:pt x="31" y="0"/>
                  <a:pt x="31" y="0"/>
                  <a:pt x="31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7" y="0"/>
                  <a:pt x="5" y="1"/>
                  <a:pt x="3" y="2"/>
                </a:cubicBezTo>
                <a:close/>
                <a:moveTo>
                  <a:pt x="200" y="47"/>
                </a:moveTo>
                <a:cubicBezTo>
                  <a:pt x="11" y="11"/>
                  <a:pt x="11" y="11"/>
                  <a:pt x="11" y="11"/>
                </a:cubicBezTo>
                <a:cubicBezTo>
                  <a:pt x="9" y="10"/>
                  <a:pt x="6" y="11"/>
                  <a:pt x="4" y="13"/>
                </a:cubicBezTo>
                <a:cubicBezTo>
                  <a:pt x="2" y="14"/>
                  <a:pt x="0" y="17"/>
                  <a:pt x="0" y="20"/>
                </a:cubicBezTo>
                <a:cubicBezTo>
                  <a:pt x="0" y="302"/>
                  <a:pt x="0" y="302"/>
                  <a:pt x="0" y="302"/>
                </a:cubicBezTo>
                <a:cubicBezTo>
                  <a:pt x="0" y="307"/>
                  <a:pt x="4" y="311"/>
                  <a:pt x="8" y="311"/>
                </a:cubicBezTo>
                <a:cubicBezTo>
                  <a:pt x="173" y="343"/>
                  <a:pt x="173" y="343"/>
                  <a:pt x="173" y="343"/>
                </a:cubicBezTo>
                <a:cubicBezTo>
                  <a:pt x="176" y="344"/>
                  <a:pt x="179" y="343"/>
                  <a:pt x="181" y="341"/>
                </a:cubicBezTo>
                <a:cubicBezTo>
                  <a:pt x="183" y="339"/>
                  <a:pt x="184" y="337"/>
                  <a:pt x="184" y="334"/>
                </a:cubicBezTo>
                <a:cubicBezTo>
                  <a:pt x="184" y="185"/>
                  <a:pt x="184" y="185"/>
                  <a:pt x="184" y="185"/>
                </a:cubicBezTo>
                <a:cubicBezTo>
                  <a:pt x="205" y="161"/>
                  <a:pt x="205" y="161"/>
                  <a:pt x="205" y="161"/>
                </a:cubicBezTo>
                <a:cubicBezTo>
                  <a:pt x="206" y="159"/>
                  <a:pt x="207" y="157"/>
                  <a:pt x="207" y="155"/>
                </a:cubicBezTo>
                <a:cubicBezTo>
                  <a:pt x="207" y="56"/>
                  <a:pt x="207" y="56"/>
                  <a:pt x="207" y="56"/>
                </a:cubicBezTo>
                <a:cubicBezTo>
                  <a:pt x="207" y="51"/>
                  <a:pt x="204" y="48"/>
                  <a:pt x="200" y="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1735" tIns="30867" rIns="61735" bIns="30867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2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3793190" y="2967468"/>
            <a:ext cx="46056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项目背景</a:t>
            </a:r>
            <a:endParaRPr kumimoji="1" lang="zh-CN" altLang="en-US" sz="5400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62924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061011" y="1203263"/>
            <a:ext cx="6925235" cy="1277470"/>
          </a:xfrm>
          <a:prstGeom prst="rect">
            <a:avLst/>
          </a:prstGeom>
          <a:solidFill>
            <a:srgbClr val="4B89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Freeform 88"/>
          <p:cNvSpPr>
            <a:spLocks noEditPoints="1"/>
          </p:cNvSpPr>
          <p:nvPr/>
        </p:nvSpPr>
        <p:spPr bwMode="auto">
          <a:xfrm rot="5400000">
            <a:off x="9989749" y="1481997"/>
            <a:ext cx="720189" cy="720002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4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403913" y="1379578"/>
            <a:ext cx="4251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其他</a:t>
            </a:r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事情</a:t>
            </a:r>
            <a:endParaRPr kumimoji="1" lang="zh-CN" altLang="en-US" sz="5400" dirty="0" smtClean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061011" y="2622816"/>
            <a:ext cx="6925236" cy="32272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1156446" y="1203263"/>
            <a:ext cx="2729754" cy="127747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1156448" y="2634178"/>
            <a:ext cx="2729752" cy="3215932"/>
          </a:xfrm>
          <a:prstGeom prst="rect">
            <a:avLst/>
          </a:prstGeom>
          <a:solidFill>
            <a:srgbClr val="4B89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57299" y="1689776"/>
            <a:ext cx="25280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3000" dirty="0" smtClean="0">
                <a:solidFill>
                  <a:srgbClr val="0070C0"/>
                </a:solidFill>
              </a:rPr>
              <a:t>Project</a:t>
            </a:r>
            <a:r>
              <a:rPr kumimoji="1" lang="zh-CN" altLang="en-US" sz="3000" dirty="0" smtClean="0">
                <a:solidFill>
                  <a:srgbClr val="0070C0"/>
                </a:solidFill>
              </a:rPr>
              <a:t> </a:t>
            </a:r>
            <a:r>
              <a:rPr kumimoji="1" lang="en-US" altLang="zh-CN" sz="3000" dirty="0" smtClean="0">
                <a:solidFill>
                  <a:srgbClr val="0070C0"/>
                </a:solidFill>
              </a:rPr>
              <a:t>Stellar</a:t>
            </a:r>
            <a:endParaRPr kumimoji="1" lang="zh-CN" altLang="en-US" sz="3000" dirty="0" smtClean="0">
              <a:solidFill>
                <a:srgbClr val="0070C0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379640" y="1449017"/>
            <a:ext cx="1347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 smtClean="0">
                <a:solidFill>
                  <a:schemeClr val="bg2">
                    <a:lumMod val="50000"/>
                  </a:schemeClr>
                </a:solidFill>
              </a:rPr>
              <a:t>SCITLAS</a:t>
            </a:r>
            <a:endParaRPr kumimoji="1" lang="zh-CN" altLang="en-US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0" name="TextBox 5"/>
          <p:cNvSpPr txBox="1"/>
          <p:nvPr/>
        </p:nvSpPr>
        <p:spPr>
          <a:xfrm>
            <a:off x="4415406" y="3357248"/>
            <a:ext cx="6294439" cy="1689675"/>
          </a:xfrm>
          <a:prstGeom prst="rect">
            <a:avLst/>
          </a:prstGeom>
          <a:noFill/>
        </p:spPr>
        <p:txBody>
          <a:bodyPr wrap="square" lIns="68571" tIns="68571" rIns="68571" bIns="68571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关于开发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关于变更</a:t>
            </a:r>
            <a:endParaRPr lang="zh-CN" altLang="en-US" sz="2400" dirty="0" smtClean="0">
              <a:solidFill>
                <a:srgbClr val="4B89F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关于开源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4B89F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写在最后</a:t>
            </a:r>
            <a:endParaRPr lang="nl-BE" sz="2400" dirty="0" smtClean="0">
              <a:solidFill>
                <a:srgbClr val="4B89F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4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5581" y="3683996"/>
            <a:ext cx="811483" cy="926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9772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09303" y="1175040"/>
            <a:ext cx="1075944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关于开发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：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设计一套可以使用较长时间的软件架构（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3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年）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以此架构为框架，逐步实现各个内部模块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  <a:endParaRPr lang="zh-CN" altLang="en-US" dirty="0" smtClean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从最小化功能原型开始，实现基本功能，满足基础需求，然后不断迭代优化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  <a:endParaRPr lang="zh-CN" altLang="en-US" dirty="0" smtClean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优先实现数据支撑和测试类功能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/>
            </a:r>
            <a:b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</a:b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6356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9303" y="1175040"/>
            <a:ext cx="10759440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关于变更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：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这是一个不确定性很高的项目，国内绝大部分宽客实际上都是失败的，并未产出任何经得住市场考验的策略应用系统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也就是说，本项目能参考的高价值信息极其有限，做一段时间就会超过大部分宽客，再往前便只能靠自己。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我不确定如何做能够成功，但我非常确定怎么做会失败。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往前走一步，可能很多事情就变了，为了适应这种变化，项目方案、设计，甚至需求都可能变更。</a:t>
            </a:r>
            <a:endParaRPr lang="zh-CN" altLang="en-US" dirty="0" smtClean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526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9303" y="1175040"/>
            <a:ext cx="10759440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关于开源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：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先说个故事，有两个人在丛林里遇到一只饥饿的狮子，一个人拼命往回跑，另一个人见状也跟着跑，边跑边说：“我们跑不过狮子，它很快就会追上来，我们都会死。”，前一个人说：“我没打算要跑过狮子，我只要跑赢你就够了。”</a:t>
            </a:r>
            <a:endParaRPr lang="zh-CN" altLang="en-US" dirty="0" smtClean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 smtClean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这个项目不是丛林故事，没有你死我活。如果要做类比，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Stellar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的故事更像这样：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一个村庄遭遇洪水，人们都往山上跑，你只是跑赢别人，一样会死，唯有爬上山顶，才能活命。大家的目标是一致的，面对巨大的困难，很多时候个人的力量是不够的，只有互相帮助，取长补短，才能成功。</a:t>
            </a:r>
          </a:p>
          <a:p>
            <a:endParaRPr lang="zh-CN" altLang="en-US" dirty="0" smtClean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故事讲完了，说正事，项目初期所有信息，全部开源：</a:t>
            </a:r>
            <a:r>
              <a:rPr lang="en-US" altLang="zh-CN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https://</a:t>
            </a:r>
            <a:r>
              <a:rPr lang="en-US" altLang="zh-CN" dirty="0" err="1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github.com</a:t>
            </a:r>
            <a:r>
              <a:rPr lang="en-US" altLang="zh-CN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/SCITLAS/Stellar</a:t>
            </a: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4833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9303" y="1175040"/>
            <a:ext cx="1075944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写在最后</a:t>
            </a:r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：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来这里，做一件即使失败了，也觉得牛逼的事。</a:t>
            </a: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7471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8" name="Content Placeholder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2698830" y="2921168"/>
            <a:ext cx="67943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6000" dirty="0" smtClean="0">
                <a:solidFill>
                  <a:schemeClr val="bg1"/>
                </a:solidFill>
              </a:rPr>
              <a:t>Welcome</a:t>
            </a:r>
            <a:r>
              <a:rPr kumimoji="1" lang="zh-CN" altLang="en-US" sz="60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6000" dirty="0" smtClean="0">
                <a:solidFill>
                  <a:schemeClr val="bg1"/>
                </a:solidFill>
              </a:rPr>
              <a:t>To</a:t>
            </a:r>
            <a:r>
              <a:rPr kumimoji="1" lang="zh-CN" altLang="en-US" sz="60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6000" dirty="0" smtClean="0">
                <a:solidFill>
                  <a:schemeClr val="bg1"/>
                </a:solidFill>
              </a:rPr>
              <a:t>Stellar</a:t>
            </a:r>
            <a:endParaRPr kumimoji="1" lang="zh-CN" altLang="en-US" sz="6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045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144370" y="2921168"/>
            <a:ext cx="59032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6000" dirty="0" smtClean="0">
                <a:solidFill>
                  <a:schemeClr val="bg1"/>
                </a:solidFill>
              </a:rPr>
              <a:t>Thanks</a:t>
            </a:r>
            <a:endParaRPr kumimoji="1" lang="zh-CN" altLang="en-US" sz="6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01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061011" y="1203263"/>
            <a:ext cx="6925235" cy="127747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Freeform 88"/>
          <p:cNvSpPr>
            <a:spLocks noEditPoints="1"/>
          </p:cNvSpPr>
          <p:nvPr/>
        </p:nvSpPr>
        <p:spPr bwMode="auto">
          <a:xfrm rot="5400000">
            <a:off x="9989749" y="1481997"/>
            <a:ext cx="720189" cy="720002"/>
          </a:xfrm>
          <a:custGeom>
            <a:avLst/>
            <a:gdLst>
              <a:gd name="T0" fmla="*/ 207 w 414"/>
              <a:gd name="T1" fmla="*/ 0 h 414"/>
              <a:gd name="T2" fmla="*/ 0 w 414"/>
              <a:gd name="T3" fmla="*/ 207 h 414"/>
              <a:gd name="T4" fmla="*/ 207 w 414"/>
              <a:gd name="T5" fmla="*/ 414 h 414"/>
              <a:gd name="T6" fmla="*/ 414 w 414"/>
              <a:gd name="T7" fmla="*/ 207 h 414"/>
              <a:gd name="T8" fmla="*/ 207 w 414"/>
              <a:gd name="T9" fmla="*/ 0 h 414"/>
              <a:gd name="T10" fmla="*/ 207 w 414"/>
              <a:gd name="T11" fmla="*/ 399 h 414"/>
              <a:gd name="T12" fmla="*/ 15 w 414"/>
              <a:gd name="T13" fmla="*/ 207 h 414"/>
              <a:gd name="T14" fmla="*/ 207 w 414"/>
              <a:gd name="T15" fmla="*/ 15 h 414"/>
              <a:gd name="T16" fmla="*/ 399 w 414"/>
              <a:gd name="T17" fmla="*/ 207 h 414"/>
              <a:gd name="T18" fmla="*/ 207 w 414"/>
              <a:gd name="T19" fmla="*/ 399 h 414"/>
              <a:gd name="T20" fmla="*/ 299 w 414"/>
              <a:gd name="T21" fmla="*/ 174 h 414"/>
              <a:gd name="T22" fmla="*/ 314 w 414"/>
              <a:gd name="T23" fmla="*/ 174 h 414"/>
              <a:gd name="T24" fmla="*/ 314 w 414"/>
              <a:gd name="T25" fmla="*/ 307 h 414"/>
              <a:gd name="T26" fmla="*/ 306 w 414"/>
              <a:gd name="T27" fmla="*/ 314 h 414"/>
              <a:gd name="T28" fmla="*/ 173 w 414"/>
              <a:gd name="T29" fmla="*/ 314 h 414"/>
              <a:gd name="T30" fmla="*/ 173 w 414"/>
              <a:gd name="T31" fmla="*/ 300 h 414"/>
              <a:gd name="T32" fmla="*/ 288 w 414"/>
              <a:gd name="T33" fmla="*/ 300 h 414"/>
              <a:gd name="T34" fmla="*/ 108 w 414"/>
              <a:gd name="T35" fmla="*/ 120 h 414"/>
              <a:gd name="T36" fmla="*/ 119 w 414"/>
              <a:gd name="T37" fmla="*/ 109 h 414"/>
              <a:gd name="T38" fmla="*/ 299 w 414"/>
              <a:gd name="T39" fmla="*/ 289 h 414"/>
              <a:gd name="T40" fmla="*/ 299 w 414"/>
              <a:gd name="T41" fmla="*/ 174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4" h="414">
                <a:moveTo>
                  <a:pt x="207" y="0"/>
                </a:moveTo>
                <a:cubicBezTo>
                  <a:pt x="93" y="0"/>
                  <a:pt x="0" y="93"/>
                  <a:pt x="0" y="207"/>
                </a:cubicBezTo>
                <a:cubicBezTo>
                  <a:pt x="0" y="321"/>
                  <a:pt x="93" y="414"/>
                  <a:pt x="207" y="414"/>
                </a:cubicBezTo>
                <a:cubicBezTo>
                  <a:pt x="321" y="414"/>
                  <a:pt x="414" y="321"/>
                  <a:pt x="414" y="207"/>
                </a:cubicBezTo>
                <a:cubicBezTo>
                  <a:pt x="414" y="93"/>
                  <a:pt x="321" y="0"/>
                  <a:pt x="207" y="0"/>
                </a:cubicBezTo>
                <a:close/>
                <a:moveTo>
                  <a:pt x="207" y="399"/>
                </a:moveTo>
                <a:cubicBezTo>
                  <a:pt x="101" y="399"/>
                  <a:pt x="15" y="313"/>
                  <a:pt x="15" y="207"/>
                </a:cubicBezTo>
                <a:cubicBezTo>
                  <a:pt x="15" y="101"/>
                  <a:pt x="101" y="15"/>
                  <a:pt x="207" y="15"/>
                </a:cubicBezTo>
                <a:cubicBezTo>
                  <a:pt x="313" y="15"/>
                  <a:pt x="399" y="101"/>
                  <a:pt x="399" y="207"/>
                </a:cubicBezTo>
                <a:cubicBezTo>
                  <a:pt x="399" y="313"/>
                  <a:pt x="313" y="399"/>
                  <a:pt x="207" y="399"/>
                </a:cubicBezTo>
                <a:close/>
                <a:moveTo>
                  <a:pt x="299" y="174"/>
                </a:moveTo>
                <a:cubicBezTo>
                  <a:pt x="314" y="174"/>
                  <a:pt x="314" y="174"/>
                  <a:pt x="314" y="174"/>
                </a:cubicBezTo>
                <a:cubicBezTo>
                  <a:pt x="314" y="307"/>
                  <a:pt x="314" y="307"/>
                  <a:pt x="314" y="307"/>
                </a:cubicBezTo>
                <a:cubicBezTo>
                  <a:pt x="314" y="311"/>
                  <a:pt x="310" y="314"/>
                  <a:pt x="306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00"/>
                  <a:pt x="173" y="300"/>
                  <a:pt x="173" y="300"/>
                </a:cubicBezTo>
                <a:cubicBezTo>
                  <a:pt x="288" y="300"/>
                  <a:pt x="288" y="300"/>
                  <a:pt x="288" y="30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299" y="289"/>
                  <a:pt x="299" y="289"/>
                  <a:pt x="299" y="289"/>
                </a:cubicBezTo>
                <a:lnTo>
                  <a:pt x="299" y="1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4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403913" y="1379578"/>
            <a:ext cx="4251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项目背景</a:t>
            </a:r>
          </a:p>
        </p:txBody>
      </p:sp>
      <p:sp>
        <p:nvSpPr>
          <p:cNvPr id="15" name="矩形 14"/>
          <p:cNvSpPr/>
          <p:nvPr/>
        </p:nvSpPr>
        <p:spPr>
          <a:xfrm>
            <a:off x="4061011" y="2622816"/>
            <a:ext cx="6925236" cy="32272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矩形 15"/>
          <p:cNvSpPr/>
          <p:nvPr/>
        </p:nvSpPr>
        <p:spPr>
          <a:xfrm>
            <a:off x="1156446" y="1203263"/>
            <a:ext cx="2729754" cy="127747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1156448" y="2634178"/>
            <a:ext cx="2729752" cy="321593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8" name="文本框 17"/>
          <p:cNvSpPr txBox="1"/>
          <p:nvPr/>
        </p:nvSpPr>
        <p:spPr>
          <a:xfrm>
            <a:off x="1257299" y="1689776"/>
            <a:ext cx="25280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3000" dirty="0" smtClean="0">
                <a:solidFill>
                  <a:srgbClr val="0070C0"/>
                </a:solidFill>
              </a:rPr>
              <a:t>Project</a:t>
            </a:r>
            <a:r>
              <a:rPr kumimoji="1" lang="zh-CN" altLang="en-US" sz="3000" dirty="0" smtClean="0">
                <a:solidFill>
                  <a:srgbClr val="0070C0"/>
                </a:solidFill>
              </a:rPr>
              <a:t> </a:t>
            </a:r>
            <a:r>
              <a:rPr kumimoji="1" lang="en-US" altLang="zh-CN" sz="3000" dirty="0" smtClean="0">
                <a:solidFill>
                  <a:srgbClr val="0070C0"/>
                </a:solidFill>
              </a:rPr>
              <a:t>Stellar</a:t>
            </a:r>
            <a:endParaRPr kumimoji="1" lang="zh-CN" altLang="en-US" sz="3000" dirty="0" smtClean="0">
              <a:solidFill>
                <a:srgbClr val="0070C0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1379640" y="1449017"/>
            <a:ext cx="1347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 smtClean="0">
                <a:solidFill>
                  <a:schemeClr val="bg2">
                    <a:lumMod val="50000"/>
                  </a:schemeClr>
                </a:solidFill>
              </a:rPr>
              <a:t>SCITLAS</a:t>
            </a:r>
            <a:endParaRPr kumimoji="1" lang="zh-CN" altLang="en-US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Freeform 79"/>
          <p:cNvSpPr>
            <a:spLocks noEditPoints="1"/>
          </p:cNvSpPr>
          <p:nvPr/>
        </p:nvSpPr>
        <p:spPr bwMode="black">
          <a:xfrm>
            <a:off x="2127855" y="3661196"/>
            <a:ext cx="865314" cy="1073485"/>
          </a:xfrm>
          <a:custGeom>
            <a:avLst/>
            <a:gdLst>
              <a:gd name="T0" fmla="*/ 277 w 277"/>
              <a:gd name="T1" fmla="*/ 171 h 344"/>
              <a:gd name="T2" fmla="*/ 277 w 277"/>
              <a:gd name="T3" fmla="*/ 251 h 344"/>
              <a:gd name="T4" fmla="*/ 274 w 277"/>
              <a:gd name="T5" fmla="*/ 258 h 344"/>
              <a:gd name="T6" fmla="*/ 251 w 277"/>
              <a:gd name="T7" fmla="*/ 280 h 344"/>
              <a:gd name="T8" fmla="*/ 251 w 277"/>
              <a:gd name="T9" fmla="*/ 295 h 344"/>
              <a:gd name="T10" fmla="*/ 248 w 277"/>
              <a:gd name="T11" fmla="*/ 302 h 344"/>
              <a:gd name="T12" fmla="*/ 241 w 277"/>
              <a:gd name="T13" fmla="*/ 305 h 344"/>
              <a:gd name="T14" fmla="*/ 10 w 277"/>
              <a:gd name="T15" fmla="*/ 305 h 344"/>
              <a:gd name="T16" fmla="*/ 3 w 277"/>
              <a:gd name="T17" fmla="*/ 302 h 344"/>
              <a:gd name="T18" fmla="*/ 0 w 277"/>
              <a:gd name="T19" fmla="*/ 295 h 344"/>
              <a:gd name="T20" fmla="*/ 0 w 277"/>
              <a:gd name="T21" fmla="*/ 9 h 344"/>
              <a:gd name="T22" fmla="*/ 3 w 277"/>
              <a:gd name="T23" fmla="*/ 2 h 344"/>
              <a:gd name="T24" fmla="*/ 10 w 277"/>
              <a:gd name="T25" fmla="*/ 0 h 344"/>
              <a:gd name="T26" fmla="*/ 241 w 277"/>
              <a:gd name="T27" fmla="*/ 0 h 344"/>
              <a:gd name="T28" fmla="*/ 248 w 277"/>
              <a:gd name="T29" fmla="*/ 2 h 344"/>
              <a:gd name="T30" fmla="*/ 251 w 277"/>
              <a:gd name="T31" fmla="*/ 9 h 344"/>
              <a:gd name="T32" fmla="*/ 251 w 277"/>
              <a:gd name="T33" fmla="*/ 143 h 344"/>
              <a:gd name="T34" fmla="*/ 274 w 277"/>
              <a:gd name="T35" fmla="*/ 164 h 344"/>
              <a:gd name="T36" fmla="*/ 277 w 277"/>
              <a:gd name="T37" fmla="*/ 171 h 344"/>
              <a:gd name="T38" fmla="*/ 3 w 277"/>
              <a:gd name="T39" fmla="*/ 2 h 344"/>
              <a:gd name="T40" fmla="*/ 0 w 277"/>
              <a:gd name="T41" fmla="*/ 9 h 344"/>
              <a:gd name="T42" fmla="*/ 0 w 277"/>
              <a:gd name="T43" fmla="*/ 295 h 344"/>
              <a:gd name="T44" fmla="*/ 3 w 277"/>
              <a:gd name="T45" fmla="*/ 302 h 344"/>
              <a:gd name="T46" fmla="*/ 10 w 277"/>
              <a:gd name="T47" fmla="*/ 305 h 344"/>
              <a:gd name="T48" fmla="*/ 199 w 277"/>
              <a:gd name="T49" fmla="*/ 305 h 344"/>
              <a:gd name="T50" fmla="*/ 199 w 277"/>
              <a:gd name="T51" fmla="*/ 191 h 344"/>
              <a:gd name="T52" fmla="*/ 216 w 277"/>
              <a:gd name="T53" fmla="*/ 171 h 344"/>
              <a:gd name="T54" fmla="*/ 222 w 277"/>
              <a:gd name="T55" fmla="*/ 155 h 344"/>
              <a:gd name="T56" fmla="*/ 222 w 277"/>
              <a:gd name="T57" fmla="*/ 56 h 344"/>
              <a:gd name="T58" fmla="*/ 202 w 277"/>
              <a:gd name="T59" fmla="*/ 32 h 344"/>
              <a:gd name="T60" fmla="*/ 31 w 277"/>
              <a:gd name="T61" fmla="*/ 0 h 344"/>
              <a:gd name="T62" fmla="*/ 10 w 277"/>
              <a:gd name="T63" fmla="*/ 0 h 344"/>
              <a:gd name="T64" fmla="*/ 3 w 277"/>
              <a:gd name="T65" fmla="*/ 2 h 344"/>
              <a:gd name="T66" fmla="*/ 200 w 277"/>
              <a:gd name="T67" fmla="*/ 47 h 344"/>
              <a:gd name="T68" fmla="*/ 11 w 277"/>
              <a:gd name="T69" fmla="*/ 11 h 344"/>
              <a:gd name="T70" fmla="*/ 4 w 277"/>
              <a:gd name="T71" fmla="*/ 13 h 344"/>
              <a:gd name="T72" fmla="*/ 0 w 277"/>
              <a:gd name="T73" fmla="*/ 20 h 344"/>
              <a:gd name="T74" fmla="*/ 0 w 277"/>
              <a:gd name="T75" fmla="*/ 302 h 344"/>
              <a:gd name="T76" fmla="*/ 8 w 277"/>
              <a:gd name="T77" fmla="*/ 311 h 344"/>
              <a:gd name="T78" fmla="*/ 173 w 277"/>
              <a:gd name="T79" fmla="*/ 343 h 344"/>
              <a:gd name="T80" fmla="*/ 181 w 277"/>
              <a:gd name="T81" fmla="*/ 341 h 344"/>
              <a:gd name="T82" fmla="*/ 184 w 277"/>
              <a:gd name="T83" fmla="*/ 334 h 344"/>
              <a:gd name="T84" fmla="*/ 184 w 277"/>
              <a:gd name="T85" fmla="*/ 185 h 344"/>
              <a:gd name="T86" fmla="*/ 205 w 277"/>
              <a:gd name="T87" fmla="*/ 161 h 344"/>
              <a:gd name="T88" fmla="*/ 207 w 277"/>
              <a:gd name="T89" fmla="*/ 155 h 344"/>
              <a:gd name="T90" fmla="*/ 207 w 277"/>
              <a:gd name="T91" fmla="*/ 56 h 344"/>
              <a:gd name="T92" fmla="*/ 200 w 277"/>
              <a:gd name="T93" fmla="*/ 47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77" h="344">
                <a:moveTo>
                  <a:pt x="277" y="171"/>
                </a:moveTo>
                <a:cubicBezTo>
                  <a:pt x="277" y="251"/>
                  <a:pt x="277" y="251"/>
                  <a:pt x="277" y="251"/>
                </a:cubicBezTo>
                <a:cubicBezTo>
                  <a:pt x="277" y="254"/>
                  <a:pt x="276" y="256"/>
                  <a:pt x="274" y="258"/>
                </a:cubicBezTo>
                <a:cubicBezTo>
                  <a:pt x="251" y="280"/>
                  <a:pt x="251" y="280"/>
                  <a:pt x="251" y="280"/>
                </a:cubicBezTo>
                <a:cubicBezTo>
                  <a:pt x="251" y="295"/>
                  <a:pt x="251" y="295"/>
                  <a:pt x="251" y="295"/>
                </a:cubicBezTo>
                <a:cubicBezTo>
                  <a:pt x="251" y="298"/>
                  <a:pt x="250" y="300"/>
                  <a:pt x="248" y="302"/>
                </a:cubicBezTo>
                <a:cubicBezTo>
                  <a:pt x="246" y="304"/>
                  <a:pt x="244" y="305"/>
                  <a:pt x="241" y="305"/>
                </a:cubicBezTo>
                <a:cubicBezTo>
                  <a:pt x="10" y="305"/>
                  <a:pt x="10" y="305"/>
                  <a:pt x="10" y="305"/>
                </a:cubicBezTo>
                <a:cubicBezTo>
                  <a:pt x="7" y="305"/>
                  <a:pt x="5" y="304"/>
                  <a:pt x="3" y="302"/>
                </a:cubicBezTo>
                <a:cubicBezTo>
                  <a:pt x="1" y="300"/>
                  <a:pt x="0" y="298"/>
                  <a:pt x="0" y="295"/>
                </a:cubicBezTo>
                <a:cubicBezTo>
                  <a:pt x="0" y="9"/>
                  <a:pt x="0" y="9"/>
                  <a:pt x="0" y="9"/>
                </a:cubicBezTo>
                <a:cubicBezTo>
                  <a:pt x="0" y="6"/>
                  <a:pt x="1" y="4"/>
                  <a:pt x="3" y="2"/>
                </a:cubicBezTo>
                <a:cubicBezTo>
                  <a:pt x="5" y="1"/>
                  <a:pt x="7" y="0"/>
                  <a:pt x="10" y="0"/>
                </a:cubicBezTo>
                <a:cubicBezTo>
                  <a:pt x="241" y="0"/>
                  <a:pt x="241" y="0"/>
                  <a:pt x="241" y="0"/>
                </a:cubicBezTo>
                <a:cubicBezTo>
                  <a:pt x="244" y="0"/>
                  <a:pt x="246" y="1"/>
                  <a:pt x="248" y="2"/>
                </a:cubicBezTo>
                <a:cubicBezTo>
                  <a:pt x="250" y="4"/>
                  <a:pt x="251" y="6"/>
                  <a:pt x="251" y="9"/>
                </a:cubicBezTo>
                <a:cubicBezTo>
                  <a:pt x="251" y="143"/>
                  <a:pt x="251" y="143"/>
                  <a:pt x="251" y="143"/>
                </a:cubicBezTo>
                <a:cubicBezTo>
                  <a:pt x="274" y="164"/>
                  <a:pt x="274" y="164"/>
                  <a:pt x="274" y="164"/>
                </a:cubicBezTo>
                <a:cubicBezTo>
                  <a:pt x="276" y="166"/>
                  <a:pt x="277" y="169"/>
                  <a:pt x="277" y="171"/>
                </a:cubicBezTo>
                <a:close/>
                <a:moveTo>
                  <a:pt x="3" y="2"/>
                </a:moveTo>
                <a:cubicBezTo>
                  <a:pt x="1" y="4"/>
                  <a:pt x="0" y="6"/>
                  <a:pt x="0" y="9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298"/>
                  <a:pt x="1" y="300"/>
                  <a:pt x="3" y="302"/>
                </a:cubicBezTo>
                <a:cubicBezTo>
                  <a:pt x="5" y="304"/>
                  <a:pt x="7" y="305"/>
                  <a:pt x="10" y="305"/>
                </a:cubicBezTo>
                <a:cubicBezTo>
                  <a:pt x="199" y="305"/>
                  <a:pt x="199" y="305"/>
                  <a:pt x="199" y="305"/>
                </a:cubicBezTo>
                <a:cubicBezTo>
                  <a:pt x="199" y="191"/>
                  <a:pt x="199" y="191"/>
                  <a:pt x="199" y="191"/>
                </a:cubicBezTo>
                <a:cubicBezTo>
                  <a:pt x="204" y="185"/>
                  <a:pt x="216" y="171"/>
                  <a:pt x="216" y="171"/>
                </a:cubicBezTo>
                <a:cubicBezTo>
                  <a:pt x="220" y="166"/>
                  <a:pt x="222" y="161"/>
                  <a:pt x="222" y="155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22" y="44"/>
                  <a:pt x="214" y="35"/>
                  <a:pt x="202" y="32"/>
                </a:cubicBezTo>
                <a:cubicBezTo>
                  <a:pt x="31" y="0"/>
                  <a:pt x="31" y="0"/>
                  <a:pt x="31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7" y="0"/>
                  <a:pt x="5" y="1"/>
                  <a:pt x="3" y="2"/>
                </a:cubicBezTo>
                <a:close/>
                <a:moveTo>
                  <a:pt x="200" y="47"/>
                </a:moveTo>
                <a:cubicBezTo>
                  <a:pt x="11" y="11"/>
                  <a:pt x="11" y="11"/>
                  <a:pt x="11" y="11"/>
                </a:cubicBezTo>
                <a:cubicBezTo>
                  <a:pt x="9" y="10"/>
                  <a:pt x="6" y="11"/>
                  <a:pt x="4" y="13"/>
                </a:cubicBezTo>
                <a:cubicBezTo>
                  <a:pt x="2" y="14"/>
                  <a:pt x="0" y="17"/>
                  <a:pt x="0" y="20"/>
                </a:cubicBezTo>
                <a:cubicBezTo>
                  <a:pt x="0" y="302"/>
                  <a:pt x="0" y="302"/>
                  <a:pt x="0" y="302"/>
                </a:cubicBezTo>
                <a:cubicBezTo>
                  <a:pt x="0" y="307"/>
                  <a:pt x="4" y="311"/>
                  <a:pt x="8" y="311"/>
                </a:cubicBezTo>
                <a:cubicBezTo>
                  <a:pt x="173" y="343"/>
                  <a:pt x="173" y="343"/>
                  <a:pt x="173" y="343"/>
                </a:cubicBezTo>
                <a:cubicBezTo>
                  <a:pt x="176" y="344"/>
                  <a:pt x="179" y="343"/>
                  <a:pt x="181" y="341"/>
                </a:cubicBezTo>
                <a:cubicBezTo>
                  <a:pt x="183" y="339"/>
                  <a:pt x="184" y="337"/>
                  <a:pt x="184" y="334"/>
                </a:cubicBezTo>
                <a:cubicBezTo>
                  <a:pt x="184" y="185"/>
                  <a:pt x="184" y="185"/>
                  <a:pt x="184" y="185"/>
                </a:cubicBezTo>
                <a:cubicBezTo>
                  <a:pt x="205" y="161"/>
                  <a:pt x="205" y="161"/>
                  <a:pt x="205" y="161"/>
                </a:cubicBezTo>
                <a:cubicBezTo>
                  <a:pt x="206" y="159"/>
                  <a:pt x="207" y="157"/>
                  <a:pt x="207" y="155"/>
                </a:cubicBezTo>
                <a:cubicBezTo>
                  <a:pt x="207" y="56"/>
                  <a:pt x="207" y="56"/>
                  <a:pt x="207" y="56"/>
                </a:cubicBezTo>
                <a:cubicBezTo>
                  <a:pt x="207" y="51"/>
                  <a:pt x="204" y="48"/>
                  <a:pt x="200" y="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1735" tIns="30867" rIns="61735" bIns="30867" numCol="1" anchor="t" anchorCtr="0" compatLnSpc="1">
            <a:prstTxWarp prst="textNoShape">
              <a:avLst/>
            </a:prstTxWarp>
          </a:bodyPr>
          <a:lstStyle/>
          <a:p>
            <a:pPr defTabSz="685487"/>
            <a:endParaRPr lang="en-US" sz="12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0" name="TextBox 5"/>
          <p:cNvSpPr txBox="1"/>
          <p:nvPr/>
        </p:nvSpPr>
        <p:spPr>
          <a:xfrm>
            <a:off x="4426169" y="3141077"/>
            <a:ext cx="6216441" cy="2095940"/>
          </a:xfrm>
          <a:prstGeom prst="rect">
            <a:avLst/>
          </a:prstGeom>
          <a:noFill/>
        </p:spPr>
        <p:txBody>
          <a:bodyPr wrap="square" lIns="68571" tIns="68571" rIns="68571" bIns="68571" rtlCol="0">
            <a:spAutoFit/>
          </a:bodyPr>
          <a:lstStyle/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D05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量化投资背景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D05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量化投资现状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D05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项目终极目标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D05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项目应用难点</a:t>
            </a:r>
          </a:p>
          <a:p>
            <a:pPr marL="257146" indent="-257146" defTabSz="685487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rgbClr val="92D050">
                    <a:alpha val="99000"/>
                  </a:srgbClr>
                </a:solidFill>
                <a:latin typeface="Yuanti SC" charset="-122"/>
                <a:ea typeface="Yuanti SC" charset="-122"/>
                <a:cs typeface="Yuanti SC" charset="-122"/>
              </a:rPr>
              <a:t>项目技术难点</a:t>
            </a:r>
            <a:endParaRPr lang="nl-BE" sz="2400" dirty="0" smtClean="0">
              <a:solidFill>
                <a:srgbClr val="92D050">
                  <a:alpha val="99000"/>
                </a:srgbClr>
              </a:solidFill>
              <a:latin typeface="Yuanti SC" charset="-122"/>
              <a:ea typeface="Yuanti SC" charset="-122"/>
              <a:cs typeface="Yuanti SC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9164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9303" y="1175040"/>
            <a:ext cx="10759440" cy="4955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量化投资背景：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量化投资在海外的发展已有</a:t>
            </a:r>
            <a:r>
              <a:rPr lang="en-US" altLang="zh-CN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30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多年的历史，其投资业绩稳定，市场规模和份额不断扩大、得到了越来越多投资者认可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相较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于海外成熟市场，</a:t>
            </a:r>
            <a:r>
              <a:rPr lang="en-US" altLang="zh-CN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A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股市场的发展历史较短，投资者队伍参差不齐，投资理念还不够成熟，留给主动投资发掘市场非有效性，产生阿尔法的潜力和空间也更大。投资理念多元化，也创造出多元分散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的阿尔法机会。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量化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投资的技术和方法在国内几乎没有竞争者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证券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市场上定性投资者太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多，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机会太少，竞争太激烈；量化投资者太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少，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机会很多，竞争很少。这给量化投资创造了良好的发展机遇</a:t>
            </a:r>
            <a:r>
              <a:rPr lang="en-US" altLang="zh-CN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——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当其他人都摆西瓜摊的时候，我们摆了一个苹果摊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					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	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			</a:t>
            </a:r>
          </a:p>
          <a:p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	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								              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----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 百度百科</a:t>
            </a: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22827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9303" y="1175040"/>
            <a:ext cx="10759440" cy="4955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量化投资现状：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近年来，国内外投资机构都设有专门的量化投资研究和应用部门，海外市场上，量化技术在资产估值、产品定价、统计套利等方面有比较多的应用。国内市场，由于监管和业务限制方面的原因，量化技术更多的只是作技术研究，以及估值应用，交易应用实践较少。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与此同时，面向大众的、公开的民间量化投资研究平台也逐步发展起来，这些一站式服务平台为用户提供较为可靠和完整的历史数据、基于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python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语言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Notebook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的量化策略开发环境，并且有策略历史数据回测、模拟交易验证、可视化数据呈现、交易操作微信通知等功能。</a:t>
            </a:r>
          </a:p>
          <a:p>
            <a:endParaRPr lang="zh-CN" altLang="en-US" dirty="0" smtClean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 smtClean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当前比较成熟的公开量化投资研究平台有：</a:t>
            </a:r>
          </a:p>
          <a:p>
            <a:r>
              <a:rPr lang="en-US" altLang="zh-CN" dirty="0" err="1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Quantopian</a:t>
            </a:r>
            <a:r>
              <a:rPr lang="en-US" altLang="zh-CN" dirty="0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(https</a:t>
            </a:r>
            <a:r>
              <a:rPr lang="en-US" altLang="zh-CN" dirty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://</a:t>
            </a:r>
            <a:r>
              <a:rPr lang="en-US" altLang="zh-CN" dirty="0" err="1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www.quantopian.com</a:t>
            </a:r>
            <a:r>
              <a:rPr lang="en-US" altLang="zh-CN" dirty="0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)</a:t>
            </a:r>
            <a:endParaRPr lang="zh-CN" altLang="en-US" dirty="0" smtClean="0">
              <a:solidFill>
                <a:srgbClr val="92D050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优矿（</a:t>
            </a:r>
            <a:r>
              <a:rPr lang="en-US" altLang="zh-CN" dirty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 https://</a:t>
            </a:r>
            <a:r>
              <a:rPr lang="en-US" altLang="zh-CN" dirty="0" err="1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uqer.io</a:t>
            </a:r>
            <a:r>
              <a:rPr lang="zh-CN" altLang="en-US" dirty="0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）</a:t>
            </a:r>
          </a:p>
          <a:p>
            <a:r>
              <a:rPr lang="zh-CN" altLang="en-US" dirty="0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聚宽（</a:t>
            </a:r>
            <a:r>
              <a:rPr lang="en-US" altLang="zh-CN" dirty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https://</a:t>
            </a:r>
            <a:r>
              <a:rPr lang="en-US" altLang="zh-CN" dirty="0" err="1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www.joinquant.com</a:t>
            </a:r>
            <a:r>
              <a:rPr lang="zh-CN" altLang="en-US" dirty="0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）</a:t>
            </a:r>
            <a:endParaRPr lang="en-US" altLang="zh-CN" dirty="0">
              <a:solidFill>
                <a:srgbClr val="92D050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米筐（</a:t>
            </a:r>
            <a:r>
              <a:rPr lang="en-US" altLang="zh-CN" dirty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https://</a:t>
            </a:r>
            <a:r>
              <a:rPr lang="en-US" altLang="zh-CN" dirty="0" err="1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www.ricequant.com</a:t>
            </a:r>
            <a:r>
              <a:rPr lang="zh-CN" altLang="en-US" dirty="0" smtClean="0">
                <a:solidFill>
                  <a:srgbClr val="92D050"/>
                </a:solidFill>
                <a:latin typeface="Yuanti SC Light" charset="-122"/>
                <a:ea typeface="Yuanti SC Light" charset="-122"/>
                <a:cs typeface="Yuanti SC Light" charset="-122"/>
              </a:rPr>
              <a:t>）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	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								</a:t>
            </a: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0939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9303" y="1175040"/>
            <a:ext cx="10759440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项目终极目标</a:t>
            </a:r>
            <a:r>
              <a:rPr lang="zh-CN" altLang="en-US" sz="2800" dirty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：</a:t>
            </a: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研究并甄别当前主流的量化分析技术，选择其中相对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比较成熟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的方法，集成互联网和软件行业内优秀的开源人工智能技术框架（如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Google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的</a:t>
            </a:r>
            <a:r>
              <a:rPr lang="en-US" altLang="zh-CN" dirty="0" err="1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tensorflow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，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python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第三方库</a:t>
            </a:r>
            <a:r>
              <a:rPr lang="en-US" altLang="zh-CN" dirty="0" err="1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pybrain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等），结合中国市场实际，进行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研究分析，力争获得适合中国</a:t>
            </a:r>
            <a:r>
              <a:rPr lang="en-US" altLang="zh-CN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A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股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市场的，高盈利、低回撤、强抗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风险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能力的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投资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策略及其交易应用系统，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并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具备自主学习，自我检错纠错、优化更新，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甚至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进化的能力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</a:p>
          <a:p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/>
            </a:r>
            <a:b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</a:b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09303" y="3637253"/>
            <a:ext cx="10759440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项目观点：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从我个人角度，这是一个异常困难的目标，即使付出极大的努力，成功的概率依然非常低。</a:t>
            </a: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如果上这趟车，就请竭尽全力，你将要获得的，除了尚不确定的结果，还有精神上的充实。</a:t>
            </a: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遇到任何困难，都请享受这通往未知的旅程，无论终点为何，这都将是人生中难得的经历。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/>
            </a:r>
            <a:b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</a:b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91644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9303" y="1175040"/>
            <a:ext cx="1075944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项目应用难点：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中国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A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股市场交易限制较多，如二级市场实行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T+1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制度，无法进行高频交易。</a:t>
            </a: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中国证监会限制，程序化交易受严厉监管。</a:t>
            </a: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低成本、高可靠性的交易数据信息来源有限。</a:t>
            </a: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数据的可靠性、及时性、实时性要求较难满足。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/>
            </a:r>
            <a:b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</a:b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09303" y="3637253"/>
            <a:ext cx="10759440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项目观点：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今天的美国市场就是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2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、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30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年以后的中国市场，现在开始做，还不晚。</a:t>
            </a: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大数据将在人们生产生活中起越来越重要的作用，低成本、高质量数据供应商的出现，只是时间问题。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/>
            </a:r>
            <a:b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</a:b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08199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083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247" y="0"/>
            <a:ext cx="1205753" cy="861252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34471" y="199793"/>
            <a:ext cx="4605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smtClean="0">
                <a:solidFill>
                  <a:schemeClr val="bg1"/>
                </a:solidFill>
              </a:rPr>
              <a:t>Project</a:t>
            </a:r>
            <a:r>
              <a:rPr kumimoji="1" lang="zh-CN" altLang="en-US" sz="2400" dirty="0" smtClean="0">
                <a:solidFill>
                  <a:schemeClr val="bg1"/>
                </a:solidFill>
              </a:rPr>
              <a:t> </a:t>
            </a:r>
            <a:r>
              <a:rPr kumimoji="1" lang="en-US" altLang="zh-CN" sz="2400" dirty="0" smtClean="0">
                <a:solidFill>
                  <a:schemeClr val="bg1"/>
                </a:solidFill>
              </a:rPr>
              <a:t>Stellar</a:t>
            </a:r>
            <a:endParaRPr kumimoji="1"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409303" y="1175040"/>
            <a:ext cx="10759440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项目技术难点：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A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股市场的特殊性，导致海外市场行之有效的量化技术，在国内未必好使，如何研究需要仔细考虑。</a:t>
            </a: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研究需要掌握很多金融和数学知识。</a:t>
            </a: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研究需要运用大数据存储、分析、挖掘技术。</a:t>
            </a: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研究需要应用人工智能、机器学习相关技术，</a:t>
            </a:r>
            <a:r>
              <a:rPr lang="zh-CN" altLang="en-US" dirty="0" smtClean="0">
                <a:solidFill>
                  <a:srgbClr val="FF5100"/>
                </a:solidFill>
                <a:latin typeface="Yuanti SC Light" charset="-122"/>
                <a:ea typeface="Yuanti SC Light" charset="-122"/>
                <a:cs typeface="Yuanti SC Light" charset="-122"/>
              </a:rPr>
              <a:t>这是本项目和传统意义上的量化投资方法最大的区别，也是项目核心竞争力所在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。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/>
            </a:r>
            <a:b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</a:b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09303" y="3637253"/>
            <a:ext cx="1075944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dirty="0" smtClean="0">
                <a:solidFill>
                  <a:schemeClr val="bg1"/>
                </a:solidFill>
                <a:latin typeface="Yuanti SC" charset="-122"/>
                <a:ea typeface="Yuanti SC" charset="-122"/>
                <a:cs typeface="Yuanti SC" charset="-122"/>
              </a:rPr>
              <a:t>项目观点：</a:t>
            </a:r>
            <a:endParaRPr lang="zh-CN" altLang="en-US" sz="2800" dirty="0">
              <a:solidFill>
                <a:schemeClr val="bg1"/>
              </a:solidFill>
              <a:latin typeface="Yuanti SC" charset="-122"/>
              <a:ea typeface="Yuanti SC" charset="-122"/>
              <a:cs typeface="Yuanti SC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需要什么就学什么，互联网时代，学习的门槛越来越低，只要你肯花时间，愿意付出努力，必有收获。</a:t>
            </a:r>
          </a:p>
          <a:p>
            <a:pPr marL="285750" indent="-285750">
              <a:buFont typeface="Arial" charset="0"/>
              <a:buChar char="•"/>
            </a:pP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各大互联网巨头对人工智能的投入，带来了神经网络、机器学习突飞猛进的技术进步，加上他们开源的技术框架，让像你我这样的普通开发者，能够方便的应用人工智能计算能力，这将会对量化投资发展产生巨大的推动力，“大数据</a:t>
            </a:r>
            <a:r>
              <a:rPr lang="en-US" altLang="zh-CN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+</a:t>
            </a:r>
            <a:r>
              <a:rPr lang="zh-CN" altLang="en-US" dirty="0" smtClean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>人工智能”将是解决寻找复杂市场环境下，开发有效投资策略的革命性技术。</a:t>
            </a:r>
            <a: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  <a:t/>
            </a:r>
            <a:br>
              <a:rPr lang="zh-CN" altLang="en-US" dirty="0">
                <a:solidFill>
                  <a:schemeClr val="bg1"/>
                </a:solidFill>
                <a:latin typeface="Yuanti SC Light" charset="-122"/>
                <a:ea typeface="Yuanti SC Light" charset="-122"/>
                <a:cs typeface="Yuanti SC Light" charset="-122"/>
              </a:rPr>
            </a:br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  <a:p>
            <a:endParaRPr lang="zh-CN" altLang="en-US" dirty="0">
              <a:solidFill>
                <a:schemeClr val="bg1"/>
              </a:solidFill>
              <a:latin typeface="Yuanti SC Light" charset="-122"/>
              <a:ea typeface="Yuanti SC Light" charset="-122"/>
              <a:cs typeface="Yuanti SC Light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59007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kumimoji="1" sz="60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0</TotalTime>
  <Words>2889</Words>
  <Application>Microsoft Macintosh PowerPoint</Application>
  <PresentationFormat>宽屏</PresentationFormat>
  <Paragraphs>378</Paragraphs>
  <Slides>36</Slides>
  <Notes>36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6</vt:i4>
      </vt:variant>
    </vt:vector>
  </HeadingPairs>
  <TitlesOfParts>
    <vt:vector size="46" baseType="lpstr">
      <vt:lpstr>Calibri</vt:lpstr>
      <vt:lpstr>Calibri Light</vt:lpstr>
      <vt:lpstr>Segoe</vt:lpstr>
      <vt:lpstr>Segoe UI</vt:lpstr>
      <vt:lpstr>Segoe UI Semibold</vt:lpstr>
      <vt:lpstr>Yuanti SC</vt:lpstr>
      <vt:lpstr>Yuanti SC Light</vt:lpstr>
      <vt:lpstr>宋体</vt:lpstr>
      <vt:lpstr>Arial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Microsoft Office 用户</cp:lastModifiedBy>
  <cp:revision>393</cp:revision>
  <dcterms:created xsi:type="dcterms:W3CDTF">2016-07-16T06:00:02Z</dcterms:created>
  <dcterms:modified xsi:type="dcterms:W3CDTF">2016-07-18T03:56:52Z</dcterms:modified>
</cp:coreProperties>
</file>